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tags/tag20.xml" ContentType="application/vnd.openxmlformats-officedocument.presentationml.tags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665" r:id="rId5"/>
    <p:sldMasterId id="2147483671" r:id="rId6"/>
  </p:sldMasterIdLst>
  <p:notesMasterIdLst>
    <p:notesMasterId r:id="rId26"/>
  </p:notesMasterIdLst>
  <p:handoutMasterIdLst>
    <p:handoutMasterId r:id="rId27"/>
  </p:handoutMasterIdLst>
  <p:sldIdLst>
    <p:sldId id="276" r:id="rId7"/>
    <p:sldId id="273" r:id="rId8"/>
    <p:sldId id="476" r:id="rId9"/>
    <p:sldId id="477" r:id="rId10"/>
    <p:sldId id="486" r:id="rId11"/>
    <p:sldId id="478" r:id="rId12"/>
    <p:sldId id="479" r:id="rId13"/>
    <p:sldId id="480" r:id="rId14"/>
    <p:sldId id="481" r:id="rId15"/>
    <p:sldId id="482" r:id="rId16"/>
    <p:sldId id="483" r:id="rId17"/>
    <p:sldId id="645" r:id="rId18"/>
    <p:sldId id="643" r:id="rId19"/>
    <p:sldId id="647" r:id="rId20"/>
    <p:sldId id="644" r:id="rId21"/>
    <p:sldId id="484" r:id="rId22"/>
    <p:sldId id="485" r:id="rId23"/>
    <p:sldId id="422" r:id="rId24"/>
    <p:sldId id="296" r:id="rId25"/>
  </p:sldIdLst>
  <p:sldSz cx="9144000" cy="5143500" type="screen16x9"/>
  <p:notesSz cx="9309100" cy="7023100"/>
  <p:custDataLst>
    <p:tags r:id="rId2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77">
          <p15:clr>
            <a:srgbClr val="A4A3A4"/>
          </p15:clr>
        </p15:guide>
        <p15:guide id="2" orient="horz" pos="2176">
          <p15:clr>
            <a:srgbClr val="A4A3A4"/>
          </p15:clr>
        </p15:guide>
        <p15:guide id="3" pos="1901">
          <p15:clr>
            <a:srgbClr val="A4A3A4"/>
          </p15:clr>
        </p15:guide>
        <p15:guide id="4" pos="387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212" userDrawn="1">
          <p15:clr>
            <a:srgbClr val="A4A3A4"/>
          </p15:clr>
        </p15:guide>
        <p15:guide id="2" pos="293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E8EA"/>
    <a:srgbClr val="D9D9D9"/>
    <a:srgbClr val="0F385A"/>
    <a:srgbClr val="CCCED1"/>
    <a:srgbClr val="14385C"/>
    <a:srgbClr val="899BAD"/>
    <a:srgbClr val="205588"/>
    <a:srgbClr val="CC7B29"/>
    <a:srgbClr val="D0D1D0"/>
    <a:srgbClr val="CBCC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  <p:ext uri="{1BD7E111-0CB8-44D6-8891-C1BB2F81B7CC}">
      <p1710:readonlyRecommended xmlns:p1710="http://schemas.microsoft.com/office/powerpoint/2017/10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09" autoAdjust="0"/>
    <p:restoredTop sz="50000" autoAdjust="0"/>
  </p:normalViewPr>
  <p:slideViewPr>
    <p:cSldViewPr snapToGrid="0" showGuides="1">
      <p:cViewPr varScale="1">
        <p:scale>
          <a:sx n="135" d="100"/>
          <a:sy n="135" d="100"/>
        </p:scale>
        <p:origin x="144" y="522"/>
      </p:cViewPr>
      <p:guideLst>
        <p:guide orient="horz" pos="1077"/>
        <p:guide orient="horz" pos="2176"/>
        <p:guide pos="1901"/>
        <p:guide pos="3876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24" d="100"/>
          <a:sy n="124" d="100"/>
        </p:scale>
        <p:origin x="1998" y="90"/>
      </p:cViewPr>
      <p:guideLst>
        <p:guide orient="horz" pos="2212"/>
        <p:guide pos="293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tags" Target="tags/tag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diagrams/_rels/data1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xdot.gov/content/dam/docs/business/peps/peps-contract-advertisements/faq-bonfire.pdf" TargetMode="External"/><Relationship Id="rId2" Type="http://schemas.openxmlformats.org/officeDocument/2006/relationships/hyperlink" Target="https://www.txdot.gov/business/peps/training-and-events.html" TargetMode="External"/><Relationship Id="rId1" Type="http://schemas.openxmlformats.org/officeDocument/2006/relationships/hyperlink" Target="https://www.txdot.gov/business/peps/opportunities.html" TargetMode="External"/></Relationships>
</file>

<file path=ppt/diagrams/_rels/data8.xml.rels><?xml version="1.0" encoding="UTF-8" standalone="yes"?>
<Relationships xmlns="http://schemas.openxmlformats.org/package/2006/relationships"><Relationship Id="rId2" Type="http://schemas.openxmlformats.org/officeDocument/2006/relationships/hyperlink" Target="https://nam11.safelinks.protection.outlook.com/?url=https%3A%2F%2Fwww.txdot.gov%2Fbusiness%2Fdisadvantaged-small-business-enterprise%2Fcivil-rights-events-calendar.html&amp;data=05%7C02%7CChristopher.Franco%40txdot.gov%7C60d0bcd6f094452aa20408deddc84a18%7C39dba4765c094c6391dace7a3ab5224d%7C0%7C0%7C639192049465309161%7CUnknown%7CTWFpbGZsb3d8eyJFbXB0eU1hcGkiOnRydWUsIlYiOiIwLjAuMDAwMCIsIlAiOiJXaW4zMiIsIkFOIjoiTWFpbCIsIldUIjoyfQ%3D%3D%7C0%7C%7C%7C&amp;sdata=9edTdqmmeMU9tCqqu9IsTa0pXJgG%2FZCFAYCt9L6AujU%3D&amp;reserved=0" TargetMode="External"/><Relationship Id="rId1" Type="http://schemas.openxmlformats.org/officeDocument/2006/relationships/hyperlink" Target="https://www.txdot.gov/business/peps/resources.html" TargetMode="External"/></Relationships>
</file>

<file path=ppt/diagrams/_rels/drawing1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xdot.gov/business/peps/training-and-events.html" TargetMode="External"/><Relationship Id="rId2" Type="http://schemas.openxmlformats.org/officeDocument/2006/relationships/hyperlink" Target="https://www.txdot.gov/content/dam/docs/business/peps/peps-contract-advertisements/faq-bonfire.pdf" TargetMode="External"/><Relationship Id="rId1" Type="http://schemas.openxmlformats.org/officeDocument/2006/relationships/hyperlink" Target="https://www.txdot.gov/business/peps/opportunities.html" TargetMode="External"/></Relationships>
</file>

<file path=ppt/diagrams/_rels/drawing8.xml.rels><?xml version="1.0" encoding="UTF-8" standalone="yes"?>
<Relationships xmlns="http://schemas.openxmlformats.org/package/2006/relationships"><Relationship Id="rId2" Type="http://schemas.openxmlformats.org/officeDocument/2006/relationships/hyperlink" Target="https://nam11.safelinks.protection.outlook.com/?url=https%3A%2F%2Fwww.txdot.gov%2Fbusiness%2Fdisadvantaged-small-business-enterprise%2Fcivil-rights-events-calendar.html&amp;data=05%7C02%7CChristopher.Franco%40txdot.gov%7C60d0bcd6f094452aa20408deddc84a18%7C39dba4765c094c6391dace7a3ab5224d%7C0%7C0%7C639192049465309161%7CUnknown%7CTWFpbGZsb3d8eyJFbXB0eU1hcGkiOnRydWUsIlYiOiIwLjAuMDAwMCIsIlAiOiJXaW4zMiIsIkFOIjoiTWFpbCIsIldUIjoyfQ%3D%3D%7C0%7C%7C%7C&amp;sdata=9edTdqmmeMU9tCqqu9IsTa0pXJgG%2FZCFAYCt9L6AujU%3D&amp;reserved=0" TargetMode="External"/><Relationship Id="rId1" Type="http://schemas.openxmlformats.org/officeDocument/2006/relationships/hyperlink" Target="https://www.txdot.gov/business/peps/resources.html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575A02B-488F-4F40-8CF0-F6AD4878B1CC}" type="doc">
      <dgm:prSet loTypeId="urn:microsoft.com/office/officeart/2005/8/layout/hList3" loCatId="list" qsTypeId="urn:microsoft.com/office/officeart/2005/8/quickstyle/simple4" qsCatId="simple" csTypeId="urn:microsoft.com/office/officeart/2005/8/colors/accent2_5" csCatId="accent2" phldr="1"/>
      <dgm:spPr/>
      <dgm:t>
        <a:bodyPr/>
        <a:lstStyle/>
        <a:p>
          <a:endParaRPr lang="en-US"/>
        </a:p>
      </dgm:t>
    </dgm:pt>
    <dgm:pt modelId="{B46DBB6C-8FCA-498F-9B2F-0403D028131E}">
      <dgm:prSet/>
      <dgm:spPr>
        <a:xfrm>
          <a:off x="0" y="0"/>
          <a:ext cx="6286500" cy="665802"/>
        </a:xfrm>
        <a:prstGeom prst="rect">
          <a:avLst/>
        </a:prstGeom>
        <a:solidFill>
          <a:srgbClr val="0F3859">
            <a:shade val="90000"/>
            <a:hueOff val="0"/>
            <a:satOff val="0"/>
            <a:lumOff val="0"/>
            <a:alphaOff val="0"/>
          </a:srgb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gm:spPr>
      <dgm:t>
        <a:bodyPr/>
        <a:lstStyle/>
        <a:p>
          <a:pPr rtl="0">
            <a:buNone/>
          </a:pPr>
          <a:r>
            <a:rPr lang="en-US" b="1" dirty="0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Thank you for coming!</a:t>
          </a:r>
          <a:endParaRPr lang="en-US" dirty="0">
            <a:solidFill>
              <a:srgbClr val="FFFFFF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gm:t>
    </dgm:pt>
    <dgm:pt modelId="{CB0E7CE9-B8DF-4032-B090-6B6326EC00F1}" type="parTrans" cxnId="{30C1C846-C117-4538-AFE2-C1340A7C4B1F}">
      <dgm:prSet/>
      <dgm:spPr/>
      <dgm:t>
        <a:bodyPr/>
        <a:lstStyle/>
        <a:p>
          <a:endParaRPr lang="en-US"/>
        </a:p>
      </dgm:t>
    </dgm:pt>
    <dgm:pt modelId="{140B1A3C-58B8-42E4-8B0E-192992FBCDEF}" type="sibTrans" cxnId="{30C1C846-C117-4538-AFE2-C1340A7C4B1F}">
      <dgm:prSet/>
      <dgm:spPr/>
      <dgm:t>
        <a:bodyPr/>
        <a:lstStyle/>
        <a:p>
          <a:endParaRPr lang="en-US"/>
        </a:p>
      </dgm:t>
    </dgm:pt>
    <dgm:pt modelId="{5C40EC34-26CB-44CD-8FAA-57A5515335ED}">
      <dgm:prSet/>
      <dgm:spPr>
        <a:xfrm>
          <a:off x="0" y="665802"/>
          <a:ext cx="3143250" cy="1398184"/>
        </a:xfrm>
        <a:prstGeom prst="rect">
          <a:avLst/>
        </a:prstGeom>
        <a:gradFill rotWithShape="0">
          <a:gsLst>
            <a:gs pos="0">
              <a:srgbClr val="0F3859">
                <a:alpha val="90000"/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0F3859">
                <a:alpha val="90000"/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0F3859">
                <a:alpha val="90000"/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gm:spPr>
      <dgm:t>
        <a:bodyPr/>
        <a:lstStyle/>
        <a:p>
          <a:pPr rtl="0">
            <a:buNone/>
          </a:pPr>
          <a:r>
            <a:rPr lang="en-US" b="1" dirty="0">
              <a:solidFill>
                <a:srgbClr val="FFFFFF"/>
              </a:solidFill>
              <a:latin typeface="Arial"/>
              <a:ea typeface="+mn-ea"/>
              <a:cs typeface="+mn-cs"/>
            </a:rPr>
            <a:t>Please be sure to share your contact information in the chat so we can document this for teaming opportunities</a:t>
          </a:r>
          <a:endParaRPr lang="en-US" dirty="0">
            <a:solidFill>
              <a:srgbClr val="FFFFFF"/>
            </a:solidFill>
            <a:latin typeface="Arial"/>
            <a:ea typeface="+mn-ea"/>
            <a:cs typeface="+mn-cs"/>
          </a:endParaRPr>
        </a:p>
      </dgm:t>
    </dgm:pt>
    <dgm:pt modelId="{D0F6C2DC-BC95-4944-8865-DBBEBD18B835}" type="parTrans" cxnId="{D5CAD112-68E2-4D96-AE63-7C53B61325DC}">
      <dgm:prSet/>
      <dgm:spPr/>
      <dgm:t>
        <a:bodyPr/>
        <a:lstStyle/>
        <a:p>
          <a:endParaRPr lang="en-US"/>
        </a:p>
      </dgm:t>
    </dgm:pt>
    <dgm:pt modelId="{535F9B67-1578-4F68-B92E-66BBECE437D4}" type="sibTrans" cxnId="{D5CAD112-68E2-4D96-AE63-7C53B61325DC}">
      <dgm:prSet/>
      <dgm:spPr/>
      <dgm:t>
        <a:bodyPr/>
        <a:lstStyle/>
        <a:p>
          <a:endParaRPr lang="en-US"/>
        </a:p>
      </dgm:t>
    </dgm:pt>
    <dgm:pt modelId="{552698A6-5B99-4276-95DA-8AC35517F099}">
      <dgm:prSet/>
      <dgm:spPr>
        <a:xfrm>
          <a:off x="3143250" y="665802"/>
          <a:ext cx="3143250" cy="1398184"/>
        </a:xfrm>
        <a:prstGeom prst="rect">
          <a:avLst/>
        </a:prstGeom>
        <a:gradFill rotWithShape="0">
          <a:gsLst>
            <a:gs pos="0">
              <a:srgbClr val="0F3859">
                <a:alpha val="90000"/>
                <a:hueOff val="0"/>
                <a:satOff val="0"/>
                <a:lumOff val="0"/>
                <a:alphaOff val="-40000"/>
                <a:shade val="51000"/>
                <a:satMod val="130000"/>
              </a:srgbClr>
            </a:gs>
            <a:gs pos="80000">
              <a:srgbClr val="0F3859">
                <a:alpha val="90000"/>
                <a:hueOff val="0"/>
                <a:satOff val="0"/>
                <a:lumOff val="0"/>
                <a:alphaOff val="-40000"/>
                <a:shade val="93000"/>
                <a:satMod val="130000"/>
              </a:srgbClr>
            </a:gs>
            <a:gs pos="100000">
              <a:srgbClr val="0F3859">
                <a:alpha val="90000"/>
                <a:hueOff val="0"/>
                <a:satOff val="0"/>
                <a:lumOff val="0"/>
                <a:alphaOff val="-4000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gm:spPr>
      <dgm:t>
        <a:bodyPr/>
        <a:lstStyle/>
        <a:p>
          <a:pPr rtl="0">
            <a:buNone/>
          </a:pPr>
          <a:r>
            <a:rPr lang="en-US" dirty="0">
              <a:solidFill>
                <a:srgbClr val="FFFFFF"/>
              </a:solidFill>
              <a:latin typeface="Arial"/>
              <a:ea typeface="+mn-ea"/>
              <a:cs typeface="+mn-cs"/>
            </a:rPr>
            <a:t>Please stay muted during the presentation as we will be taking questions at the end</a:t>
          </a:r>
        </a:p>
      </dgm:t>
    </dgm:pt>
    <dgm:pt modelId="{28108D83-5316-4CCF-B1A7-5606DF99603E}" type="parTrans" cxnId="{1CC2BFE0-0C54-41CA-B94F-10DF06B1EAAD}">
      <dgm:prSet/>
      <dgm:spPr/>
      <dgm:t>
        <a:bodyPr/>
        <a:lstStyle/>
        <a:p>
          <a:endParaRPr lang="en-US"/>
        </a:p>
      </dgm:t>
    </dgm:pt>
    <dgm:pt modelId="{4675AE72-EB29-4F9F-82A2-92F1CCDB4DA4}" type="sibTrans" cxnId="{1CC2BFE0-0C54-41CA-B94F-10DF06B1EAAD}">
      <dgm:prSet/>
      <dgm:spPr/>
      <dgm:t>
        <a:bodyPr/>
        <a:lstStyle/>
        <a:p>
          <a:endParaRPr lang="en-US"/>
        </a:p>
      </dgm:t>
    </dgm:pt>
    <dgm:pt modelId="{D3917786-D0FC-47B0-90A1-797B5E83F369}" type="pres">
      <dgm:prSet presAssocID="{8575A02B-488F-4F40-8CF0-F6AD4878B1CC}" presName="composite" presStyleCnt="0">
        <dgm:presLayoutVars>
          <dgm:chMax val="1"/>
          <dgm:dir/>
          <dgm:resizeHandles val="exact"/>
        </dgm:presLayoutVars>
      </dgm:prSet>
      <dgm:spPr/>
    </dgm:pt>
    <dgm:pt modelId="{CA466BD1-EBC4-4721-A245-5EF94DE699B7}" type="pres">
      <dgm:prSet presAssocID="{B46DBB6C-8FCA-498F-9B2F-0403D028131E}" presName="roof" presStyleLbl="dkBgShp" presStyleIdx="0" presStyleCnt="2"/>
      <dgm:spPr/>
    </dgm:pt>
    <dgm:pt modelId="{E832921F-2FEA-45AA-8BD7-456E9595B34B}" type="pres">
      <dgm:prSet presAssocID="{B46DBB6C-8FCA-498F-9B2F-0403D028131E}" presName="pillars" presStyleCnt="0"/>
      <dgm:spPr/>
    </dgm:pt>
    <dgm:pt modelId="{54D81EA8-0CCE-4820-AD5A-1561B172AAD0}" type="pres">
      <dgm:prSet presAssocID="{B46DBB6C-8FCA-498F-9B2F-0403D028131E}" presName="pillar1" presStyleLbl="node1" presStyleIdx="0" presStyleCnt="2">
        <dgm:presLayoutVars>
          <dgm:bulletEnabled val="1"/>
        </dgm:presLayoutVars>
      </dgm:prSet>
      <dgm:spPr/>
    </dgm:pt>
    <dgm:pt modelId="{BCBF8E88-D9B2-4B15-9997-7B4B7AA3DDEF}" type="pres">
      <dgm:prSet presAssocID="{552698A6-5B99-4276-95DA-8AC35517F099}" presName="pillarX" presStyleLbl="node1" presStyleIdx="1" presStyleCnt="2">
        <dgm:presLayoutVars>
          <dgm:bulletEnabled val="1"/>
        </dgm:presLayoutVars>
      </dgm:prSet>
      <dgm:spPr/>
    </dgm:pt>
    <dgm:pt modelId="{A2321464-4710-4451-BE5B-256B40EA8743}" type="pres">
      <dgm:prSet presAssocID="{B46DBB6C-8FCA-498F-9B2F-0403D028131E}" presName="base" presStyleLbl="dkBgShp" presStyleIdx="1" presStyleCnt="2"/>
      <dgm:spPr>
        <a:xfrm>
          <a:off x="0" y="2063986"/>
          <a:ext cx="6286500" cy="155353"/>
        </a:xfrm>
        <a:prstGeom prst="rect">
          <a:avLst/>
        </a:prstGeom>
        <a:solidFill>
          <a:srgbClr val="0F3859">
            <a:shade val="90000"/>
            <a:hueOff val="0"/>
            <a:satOff val="0"/>
            <a:lumOff val="0"/>
            <a:alphaOff val="0"/>
          </a:srgb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gm:spPr>
    </dgm:pt>
  </dgm:ptLst>
  <dgm:cxnLst>
    <dgm:cxn modelId="{D5CAD112-68E2-4D96-AE63-7C53B61325DC}" srcId="{B46DBB6C-8FCA-498F-9B2F-0403D028131E}" destId="{5C40EC34-26CB-44CD-8FAA-57A5515335ED}" srcOrd="0" destOrd="0" parTransId="{D0F6C2DC-BC95-4944-8865-DBBEBD18B835}" sibTransId="{535F9B67-1578-4F68-B92E-66BBECE437D4}"/>
    <dgm:cxn modelId="{30C1C846-C117-4538-AFE2-C1340A7C4B1F}" srcId="{8575A02B-488F-4F40-8CF0-F6AD4878B1CC}" destId="{B46DBB6C-8FCA-498F-9B2F-0403D028131E}" srcOrd="0" destOrd="0" parTransId="{CB0E7CE9-B8DF-4032-B090-6B6326EC00F1}" sibTransId="{140B1A3C-58B8-42E4-8B0E-192992FBCDEF}"/>
    <dgm:cxn modelId="{6D6A97C0-655A-498C-84E8-EC76B0E6AD1E}" type="presOf" srcId="{5C40EC34-26CB-44CD-8FAA-57A5515335ED}" destId="{54D81EA8-0CCE-4820-AD5A-1561B172AAD0}" srcOrd="0" destOrd="0" presId="urn:microsoft.com/office/officeart/2005/8/layout/hList3"/>
    <dgm:cxn modelId="{288F7ADC-A982-4416-9473-EAE84733959A}" type="presOf" srcId="{552698A6-5B99-4276-95DA-8AC35517F099}" destId="{BCBF8E88-D9B2-4B15-9997-7B4B7AA3DDEF}" srcOrd="0" destOrd="0" presId="urn:microsoft.com/office/officeart/2005/8/layout/hList3"/>
    <dgm:cxn modelId="{1CC2BFE0-0C54-41CA-B94F-10DF06B1EAAD}" srcId="{B46DBB6C-8FCA-498F-9B2F-0403D028131E}" destId="{552698A6-5B99-4276-95DA-8AC35517F099}" srcOrd="1" destOrd="0" parTransId="{28108D83-5316-4CCF-B1A7-5606DF99603E}" sibTransId="{4675AE72-EB29-4F9F-82A2-92F1CCDB4DA4}"/>
    <dgm:cxn modelId="{ED718EF6-D181-4809-B161-14066B28C7CD}" type="presOf" srcId="{B46DBB6C-8FCA-498F-9B2F-0403D028131E}" destId="{CA466BD1-EBC4-4721-A245-5EF94DE699B7}" srcOrd="0" destOrd="0" presId="urn:microsoft.com/office/officeart/2005/8/layout/hList3"/>
    <dgm:cxn modelId="{BFB722FE-E17F-46B4-95BC-1FCD37DA4135}" type="presOf" srcId="{8575A02B-488F-4F40-8CF0-F6AD4878B1CC}" destId="{D3917786-D0FC-47B0-90A1-797B5E83F369}" srcOrd="0" destOrd="0" presId="urn:microsoft.com/office/officeart/2005/8/layout/hList3"/>
    <dgm:cxn modelId="{B4030891-B03C-4B01-9113-4C090362C3AD}" type="presParOf" srcId="{D3917786-D0FC-47B0-90A1-797B5E83F369}" destId="{CA466BD1-EBC4-4721-A245-5EF94DE699B7}" srcOrd="0" destOrd="0" presId="urn:microsoft.com/office/officeart/2005/8/layout/hList3"/>
    <dgm:cxn modelId="{FDA6D84C-273F-4755-8A7E-A482527662CD}" type="presParOf" srcId="{D3917786-D0FC-47B0-90A1-797B5E83F369}" destId="{E832921F-2FEA-45AA-8BD7-456E9595B34B}" srcOrd="1" destOrd="0" presId="urn:microsoft.com/office/officeart/2005/8/layout/hList3"/>
    <dgm:cxn modelId="{091D9C78-63F9-4949-BC7E-C98343556894}" type="presParOf" srcId="{E832921F-2FEA-45AA-8BD7-456E9595B34B}" destId="{54D81EA8-0CCE-4820-AD5A-1561B172AAD0}" srcOrd="0" destOrd="0" presId="urn:microsoft.com/office/officeart/2005/8/layout/hList3"/>
    <dgm:cxn modelId="{E494CC69-55FE-4A47-8C8B-8D6E77D38A23}" type="presParOf" srcId="{E832921F-2FEA-45AA-8BD7-456E9595B34B}" destId="{BCBF8E88-D9B2-4B15-9997-7B4B7AA3DDEF}" srcOrd="1" destOrd="0" presId="urn:microsoft.com/office/officeart/2005/8/layout/hList3"/>
    <dgm:cxn modelId="{4EDB458C-DE3C-4352-897F-9F24F590AF45}" type="presParOf" srcId="{D3917786-D0FC-47B0-90A1-797B5E83F369}" destId="{A2321464-4710-4451-BE5B-256B40EA8743}" srcOrd="2" destOrd="0" presId="urn:microsoft.com/office/officeart/2005/8/layout/hList3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18486976-23CD-46A3-921A-D3924E3A6380}" type="doc">
      <dgm:prSet loTypeId="urn:microsoft.com/office/officeart/2011/layout/TabList" loCatId="list" qsTypeId="urn:microsoft.com/office/officeart/2005/8/quickstyle/simple4" qsCatId="simple" csTypeId="urn:microsoft.com/office/officeart/2005/8/colors/accent2_5" csCatId="accent2" phldr="1"/>
      <dgm:spPr/>
      <dgm:t>
        <a:bodyPr/>
        <a:lstStyle/>
        <a:p>
          <a:endParaRPr lang="en-US"/>
        </a:p>
      </dgm:t>
    </dgm:pt>
    <dgm:pt modelId="{D6A4DB0A-DD96-44FE-818F-16DE1A208A88}">
      <dgm:prSet phldrT="[Text]" custT="1"/>
      <dgm:spPr>
        <a:xfrm>
          <a:off x="-436793" y="1907"/>
          <a:ext cx="3165170" cy="388453"/>
        </a:xfrm>
        <a:prstGeom prst="round2SameRect">
          <a:avLst>
            <a:gd name="adj1" fmla="val 16670"/>
            <a:gd name="adj2" fmla="val 0"/>
          </a:avLst>
        </a:prstGeom>
        <a:gradFill rotWithShape="0">
          <a:gsLst>
            <a:gs pos="0">
              <a:srgbClr val="0F3859">
                <a:alpha val="90000"/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0F3859">
                <a:alpha val="90000"/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0F3859">
                <a:alpha val="90000"/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 w="9525" cap="flat" cmpd="sng" algn="ctr">
          <a:solidFill>
            <a:srgbClr val="0F3859">
              <a:alpha val="90000"/>
              <a:hueOff val="0"/>
              <a:satOff val="0"/>
              <a:lumOff val="0"/>
              <a:alphaOff val="0"/>
            </a:srgb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gm:spPr>
      <dgm:t>
        <a:bodyPr/>
        <a:lstStyle/>
        <a:p>
          <a:pPr algn="ctr">
            <a:buNone/>
          </a:pPr>
          <a:r>
            <a:rPr lang="en-US" sz="1600" dirty="0">
              <a:solidFill>
                <a:srgbClr val="FFFFFF"/>
              </a:solidFill>
              <a:latin typeface="Arial"/>
              <a:ea typeface="+mn-ea"/>
              <a:cs typeface="+mn-cs"/>
            </a:rPr>
            <a:t>Pre-RFP Meeting</a:t>
          </a:r>
        </a:p>
      </dgm:t>
    </dgm:pt>
    <dgm:pt modelId="{34C1099F-C1F5-46D1-86A8-9C147F71ADFD}" type="parTrans" cxnId="{43E3C6A4-1520-4978-9305-714746AD897D}">
      <dgm:prSet/>
      <dgm:spPr/>
      <dgm:t>
        <a:bodyPr/>
        <a:lstStyle/>
        <a:p>
          <a:endParaRPr lang="en-US"/>
        </a:p>
      </dgm:t>
    </dgm:pt>
    <dgm:pt modelId="{F63A8CE5-2B6A-4638-A7BA-0876DA15207A}" type="sibTrans" cxnId="{43E3C6A4-1520-4978-9305-714746AD897D}">
      <dgm:prSet/>
      <dgm:spPr/>
      <dgm:t>
        <a:bodyPr/>
        <a:lstStyle/>
        <a:p>
          <a:endParaRPr lang="en-US"/>
        </a:p>
      </dgm:t>
    </dgm:pt>
    <dgm:pt modelId="{EEF2DB26-02FF-4DFA-9070-A5F02371C86F}">
      <dgm:prSet phldrT="[Text]" custT="1"/>
      <dgm:spPr>
        <a:xfrm>
          <a:off x="1854791" y="1907"/>
          <a:ext cx="4035840" cy="388453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 algn="r">
            <a:buNone/>
          </a:pPr>
          <a:r>
            <a:rPr lang="en-US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July 10, 2026</a:t>
          </a:r>
        </a:p>
      </dgm:t>
    </dgm:pt>
    <dgm:pt modelId="{D4ABEC14-1F2B-48C7-A3A9-2AF014D65AC8}" type="parTrans" cxnId="{7774C80A-8CCE-46C5-89E5-843D01506888}">
      <dgm:prSet/>
      <dgm:spPr/>
      <dgm:t>
        <a:bodyPr/>
        <a:lstStyle/>
        <a:p>
          <a:endParaRPr lang="en-US"/>
        </a:p>
      </dgm:t>
    </dgm:pt>
    <dgm:pt modelId="{4FC96DDC-B987-4EA8-B8DC-B33ABDFED9FB}" type="sibTrans" cxnId="{7774C80A-8CCE-46C5-89E5-843D01506888}">
      <dgm:prSet/>
      <dgm:spPr/>
      <dgm:t>
        <a:bodyPr/>
        <a:lstStyle/>
        <a:p>
          <a:endParaRPr lang="en-US"/>
        </a:p>
      </dgm:t>
    </dgm:pt>
    <dgm:pt modelId="{5BD5E905-23DE-4399-A278-5EEA1CC1E0CB}">
      <dgm:prSet phldrT="[Text]" custT="1"/>
      <dgm:spPr>
        <a:xfrm>
          <a:off x="-436793" y="409784"/>
          <a:ext cx="3165170" cy="388453"/>
        </a:xfrm>
        <a:prstGeom prst="round2SameRect">
          <a:avLst>
            <a:gd name="adj1" fmla="val 16670"/>
            <a:gd name="adj2" fmla="val 0"/>
          </a:avLst>
        </a:prstGeom>
        <a:gradFill rotWithShape="0">
          <a:gsLst>
            <a:gs pos="0">
              <a:srgbClr val="0F3859">
                <a:alpha val="90000"/>
                <a:hueOff val="0"/>
                <a:satOff val="0"/>
                <a:lumOff val="0"/>
                <a:alphaOff val="-5000"/>
                <a:shade val="51000"/>
                <a:satMod val="130000"/>
              </a:srgbClr>
            </a:gs>
            <a:gs pos="80000">
              <a:srgbClr val="0F3859">
                <a:alpha val="90000"/>
                <a:hueOff val="0"/>
                <a:satOff val="0"/>
                <a:lumOff val="0"/>
                <a:alphaOff val="-5000"/>
                <a:shade val="93000"/>
                <a:satMod val="130000"/>
              </a:srgbClr>
            </a:gs>
            <a:gs pos="100000">
              <a:srgbClr val="0F3859">
                <a:alpha val="90000"/>
                <a:hueOff val="0"/>
                <a:satOff val="0"/>
                <a:lumOff val="0"/>
                <a:alphaOff val="-5000"/>
                <a:shade val="94000"/>
                <a:satMod val="135000"/>
              </a:srgbClr>
            </a:gs>
          </a:gsLst>
          <a:lin ang="16200000" scaled="0"/>
        </a:gradFill>
        <a:ln w="9525" cap="flat" cmpd="sng" algn="ctr">
          <a:solidFill>
            <a:srgbClr val="0F3859">
              <a:alpha val="90000"/>
              <a:hueOff val="0"/>
              <a:satOff val="0"/>
              <a:lumOff val="0"/>
              <a:alphaOff val="-5000"/>
            </a:srgb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gm:spPr>
      <dgm:t>
        <a:bodyPr/>
        <a:lstStyle/>
        <a:p>
          <a:pPr algn="ctr">
            <a:buNone/>
          </a:pPr>
          <a:r>
            <a:rPr lang="en-US" sz="1600" dirty="0">
              <a:solidFill>
                <a:srgbClr val="FFFFFF"/>
              </a:solidFill>
              <a:latin typeface="Arial"/>
              <a:ea typeface="+mn-ea"/>
              <a:cs typeface="+mn-cs"/>
            </a:rPr>
            <a:t>RFP Posting</a:t>
          </a:r>
        </a:p>
      </dgm:t>
    </dgm:pt>
    <dgm:pt modelId="{A132C8DF-8C18-4705-8C1A-72E4B51FF4BC}" type="parTrans" cxnId="{3D24E00C-E461-469B-A2C0-2A5B5F3358F2}">
      <dgm:prSet/>
      <dgm:spPr/>
      <dgm:t>
        <a:bodyPr/>
        <a:lstStyle/>
        <a:p>
          <a:endParaRPr lang="en-US"/>
        </a:p>
      </dgm:t>
    </dgm:pt>
    <dgm:pt modelId="{72DA57E1-5B0D-46BC-A2C1-97F0606B5921}" type="sibTrans" cxnId="{3D24E00C-E461-469B-A2C0-2A5B5F3358F2}">
      <dgm:prSet/>
      <dgm:spPr/>
      <dgm:t>
        <a:bodyPr/>
        <a:lstStyle/>
        <a:p>
          <a:endParaRPr lang="en-US"/>
        </a:p>
      </dgm:t>
    </dgm:pt>
    <dgm:pt modelId="{138CD50C-9596-43C2-AB23-979786ACAE3B}">
      <dgm:prSet phldrT="[Text]" custT="1"/>
      <dgm:spPr>
        <a:xfrm>
          <a:off x="1854791" y="409784"/>
          <a:ext cx="4035840" cy="388453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 algn="r">
            <a:buNone/>
          </a:pPr>
          <a:r>
            <a:rPr lang="en-US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Late July 2026</a:t>
          </a:r>
        </a:p>
      </dgm:t>
    </dgm:pt>
    <dgm:pt modelId="{B9083CD9-D442-4E1D-A6CA-2FA0D4C15AC1}" type="parTrans" cxnId="{EFEA9EE2-13CC-48F8-A7B6-FA27DFDD0A5A}">
      <dgm:prSet/>
      <dgm:spPr/>
      <dgm:t>
        <a:bodyPr/>
        <a:lstStyle/>
        <a:p>
          <a:endParaRPr lang="en-US"/>
        </a:p>
      </dgm:t>
    </dgm:pt>
    <dgm:pt modelId="{3A78C776-A8E8-4DDD-A7F7-84D5E30F2F52}" type="sibTrans" cxnId="{EFEA9EE2-13CC-48F8-A7B6-FA27DFDD0A5A}">
      <dgm:prSet/>
      <dgm:spPr/>
      <dgm:t>
        <a:bodyPr/>
        <a:lstStyle/>
        <a:p>
          <a:endParaRPr lang="en-US"/>
        </a:p>
      </dgm:t>
    </dgm:pt>
    <dgm:pt modelId="{8D682060-0CD9-42F2-AFC6-150AE16077FF}">
      <dgm:prSet phldrT="[Text]" custT="1"/>
      <dgm:spPr>
        <a:xfrm>
          <a:off x="-436793" y="817660"/>
          <a:ext cx="3165170" cy="388453"/>
        </a:xfrm>
        <a:prstGeom prst="round2SameRect">
          <a:avLst>
            <a:gd name="adj1" fmla="val 16670"/>
            <a:gd name="adj2" fmla="val 0"/>
          </a:avLst>
        </a:prstGeom>
        <a:gradFill rotWithShape="0">
          <a:gsLst>
            <a:gs pos="0">
              <a:srgbClr val="0F3859">
                <a:alpha val="90000"/>
                <a:hueOff val="0"/>
                <a:satOff val="0"/>
                <a:lumOff val="0"/>
                <a:alphaOff val="-10000"/>
                <a:shade val="51000"/>
                <a:satMod val="130000"/>
              </a:srgbClr>
            </a:gs>
            <a:gs pos="80000">
              <a:srgbClr val="0F3859">
                <a:alpha val="90000"/>
                <a:hueOff val="0"/>
                <a:satOff val="0"/>
                <a:lumOff val="0"/>
                <a:alphaOff val="-10000"/>
                <a:shade val="93000"/>
                <a:satMod val="130000"/>
              </a:srgbClr>
            </a:gs>
            <a:gs pos="100000">
              <a:srgbClr val="0F3859">
                <a:alpha val="90000"/>
                <a:hueOff val="0"/>
                <a:satOff val="0"/>
                <a:lumOff val="0"/>
                <a:alphaOff val="-10000"/>
                <a:shade val="94000"/>
                <a:satMod val="135000"/>
              </a:srgbClr>
            </a:gs>
          </a:gsLst>
          <a:lin ang="16200000" scaled="0"/>
        </a:gradFill>
        <a:ln w="9525" cap="flat" cmpd="sng" algn="ctr">
          <a:solidFill>
            <a:srgbClr val="0F3859">
              <a:alpha val="90000"/>
              <a:hueOff val="0"/>
              <a:satOff val="0"/>
              <a:lumOff val="0"/>
              <a:alphaOff val="-10000"/>
            </a:srgb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gm:spPr>
      <dgm:t>
        <a:bodyPr/>
        <a:lstStyle/>
        <a:p>
          <a:pPr algn="ctr">
            <a:buNone/>
          </a:pPr>
          <a:r>
            <a:rPr lang="en-US" sz="1600" dirty="0">
              <a:solidFill>
                <a:srgbClr val="FFFFFF"/>
              </a:solidFill>
              <a:latin typeface="Arial"/>
              <a:ea typeface="+mn-ea"/>
              <a:cs typeface="+mn-cs"/>
            </a:rPr>
            <a:t>Proposal Due</a:t>
          </a:r>
        </a:p>
      </dgm:t>
    </dgm:pt>
    <dgm:pt modelId="{050A2EC5-83DE-4334-AF8B-D84B5CC3970E}" type="parTrans" cxnId="{C2E811A4-06BE-40C7-B5FA-99848E5F2E9E}">
      <dgm:prSet/>
      <dgm:spPr/>
      <dgm:t>
        <a:bodyPr/>
        <a:lstStyle/>
        <a:p>
          <a:endParaRPr lang="en-US"/>
        </a:p>
      </dgm:t>
    </dgm:pt>
    <dgm:pt modelId="{C50C187F-49A0-40B7-986A-FCF0EB2DCC65}" type="sibTrans" cxnId="{C2E811A4-06BE-40C7-B5FA-99848E5F2E9E}">
      <dgm:prSet/>
      <dgm:spPr/>
      <dgm:t>
        <a:bodyPr/>
        <a:lstStyle/>
        <a:p>
          <a:endParaRPr lang="en-US"/>
        </a:p>
      </dgm:t>
    </dgm:pt>
    <dgm:pt modelId="{27F8AB29-3BE5-42D6-9369-FD8BAB328063}">
      <dgm:prSet phldrT="[Text]" custT="1"/>
      <dgm:spPr>
        <a:xfrm>
          <a:off x="1854791" y="817660"/>
          <a:ext cx="4035840" cy="388453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 algn="r">
            <a:buNone/>
          </a:pPr>
          <a:r>
            <a:rPr lang="en-US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August 2026</a:t>
          </a:r>
        </a:p>
      </dgm:t>
    </dgm:pt>
    <dgm:pt modelId="{788DD5CE-8DD2-4EAC-A5CA-9238FEAF5592}" type="parTrans" cxnId="{C3633890-0C83-4334-8071-0241663EB833}">
      <dgm:prSet/>
      <dgm:spPr/>
      <dgm:t>
        <a:bodyPr/>
        <a:lstStyle/>
        <a:p>
          <a:endParaRPr lang="en-US"/>
        </a:p>
      </dgm:t>
    </dgm:pt>
    <dgm:pt modelId="{1B21FEE3-33F3-4089-962B-7D3960554E5B}" type="sibTrans" cxnId="{C3633890-0C83-4334-8071-0241663EB833}">
      <dgm:prSet/>
      <dgm:spPr/>
      <dgm:t>
        <a:bodyPr/>
        <a:lstStyle/>
        <a:p>
          <a:endParaRPr lang="en-US"/>
        </a:p>
      </dgm:t>
    </dgm:pt>
    <dgm:pt modelId="{194549C0-6F9D-4D27-832D-C2744EE80572}">
      <dgm:prSet phldrT="[Text]" custT="1"/>
      <dgm:spPr>
        <a:xfrm>
          <a:off x="-436793" y="2857042"/>
          <a:ext cx="3165170" cy="388453"/>
        </a:xfrm>
        <a:prstGeom prst="round2SameRect">
          <a:avLst>
            <a:gd name="adj1" fmla="val 16670"/>
            <a:gd name="adj2" fmla="val 0"/>
          </a:avLst>
        </a:prstGeom>
        <a:gradFill rotWithShape="0">
          <a:gsLst>
            <a:gs pos="0">
              <a:srgbClr val="0F3859">
                <a:alpha val="90000"/>
                <a:hueOff val="0"/>
                <a:satOff val="0"/>
                <a:lumOff val="0"/>
                <a:alphaOff val="-35000"/>
                <a:shade val="51000"/>
                <a:satMod val="130000"/>
              </a:srgbClr>
            </a:gs>
            <a:gs pos="80000">
              <a:srgbClr val="0F3859">
                <a:alpha val="90000"/>
                <a:hueOff val="0"/>
                <a:satOff val="0"/>
                <a:lumOff val="0"/>
                <a:alphaOff val="-35000"/>
                <a:shade val="93000"/>
                <a:satMod val="130000"/>
              </a:srgbClr>
            </a:gs>
            <a:gs pos="100000">
              <a:srgbClr val="0F3859">
                <a:alpha val="90000"/>
                <a:hueOff val="0"/>
                <a:satOff val="0"/>
                <a:lumOff val="0"/>
                <a:alphaOff val="-35000"/>
                <a:shade val="94000"/>
                <a:satMod val="135000"/>
              </a:srgbClr>
            </a:gs>
          </a:gsLst>
          <a:lin ang="16200000" scaled="0"/>
        </a:gradFill>
        <a:ln w="9525" cap="flat" cmpd="sng" algn="ctr">
          <a:solidFill>
            <a:srgbClr val="0F3859">
              <a:alpha val="90000"/>
              <a:hueOff val="0"/>
              <a:satOff val="0"/>
              <a:lumOff val="0"/>
              <a:alphaOff val="-35000"/>
            </a:srgb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gm:spPr>
      <dgm:t>
        <a:bodyPr/>
        <a:lstStyle/>
        <a:p>
          <a:pPr algn="ctr">
            <a:buNone/>
          </a:pPr>
          <a:r>
            <a:rPr lang="en-US" sz="1600" dirty="0">
              <a:solidFill>
                <a:srgbClr val="FFFFFF"/>
              </a:solidFill>
              <a:latin typeface="Arial"/>
              <a:ea typeface="+mn-ea"/>
              <a:cs typeface="+mn-cs"/>
            </a:rPr>
            <a:t>Contract Execution</a:t>
          </a:r>
        </a:p>
      </dgm:t>
    </dgm:pt>
    <dgm:pt modelId="{ED47F7F0-0B23-49C3-BA1F-A7A284832054}" type="parTrans" cxnId="{C46873C2-F6D5-4840-8F08-8D2E2A84EA98}">
      <dgm:prSet/>
      <dgm:spPr/>
      <dgm:t>
        <a:bodyPr/>
        <a:lstStyle/>
        <a:p>
          <a:endParaRPr lang="en-US"/>
        </a:p>
      </dgm:t>
    </dgm:pt>
    <dgm:pt modelId="{F5878483-EC0D-4C1A-A4C9-B39DE70EC18A}" type="sibTrans" cxnId="{C46873C2-F6D5-4840-8F08-8D2E2A84EA98}">
      <dgm:prSet/>
      <dgm:spPr/>
      <dgm:t>
        <a:bodyPr/>
        <a:lstStyle/>
        <a:p>
          <a:endParaRPr lang="en-US"/>
        </a:p>
      </dgm:t>
    </dgm:pt>
    <dgm:pt modelId="{75C57F16-71CA-467D-865A-10551A05A59F}">
      <dgm:prSet phldrT="[Text]" custT="1"/>
      <dgm:spPr>
        <a:xfrm>
          <a:off x="-436793" y="1225536"/>
          <a:ext cx="3165170" cy="388453"/>
        </a:xfrm>
        <a:prstGeom prst="round2SameRect">
          <a:avLst>
            <a:gd name="adj1" fmla="val 16670"/>
            <a:gd name="adj2" fmla="val 0"/>
          </a:avLst>
        </a:prstGeom>
        <a:gradFill rotWithShape="0">
          <a:gsLst>
            <a:gs pos="0">
              <a:srgbClr val="0F3859">
                <a:alpha val="90000"/>
                <a:hueOff val="0"/>
                <a:satOff val="0"/>
                <a:lumOff val="0"/>
                <a:alphaOff val="-15000"/>
                <a:shade val="51000"/>
                <a:satMod val="130000"/>
              </a:srgbClr>
            </a:gs>
            <a:gs pos="80000">
              <a:srgbClr val="0F3859">
                <a:alpha val="90000"/>
                <a:hueOff val="0"/>
                <a:satOff val="0"/>
                <a:lumOff val="0"/>
                <a:alphaOff val="-15000"/>
                <a:shade val="93000"/>
                <a:satMod val="130000"/>
              </a:srgbClr>
            </a:gs>
            <a:gs pos="100000">
              <a:srgbClr val="0F3859">
                <a:alpha val="90000"/>
                <a:hueOff val="0"/>
                <a:satOff val="0"/>
                <a:lumOff val="0"/>
                <a:alphaOff val="-15000"/>
                <a:shade val="94000"/>
                <a:satMod val="135000"/>
              </a:srgbClr>
            </a:gs>
          </a:gsLst>
          <a:lin ang="16200000" scaled="0"/>
        </a:gradFill>
        <a:ln w="9525" cap="flat" cmpd="sng" algn="ctr">
          <a:solidFill>
            <a:srgbClr val="0F3859">
              <a:alpha val="90000"/>
              <a:hueOff val="0"/>
              <a:satOff val="0"/>
              <a:lumOff val="0"/>
              <a:alphaOff val="-15000"/>
            </a:srgb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gm:spPr>
      <dgm:t>
        <a:bodyPr/>
        <a:lstStyle/>
        <a:p>
          <a:pPr algn="ctr">
            <a:buNone/>
          </a:pPr>
          <a:r>
            <a:rPr lang="en-US" sz="1600" dirty="0">
              <a:solidFill>
                <a:srgbClr val="FFFFFF"/>
              </a:solidFill>
              <a:latin typeface="Arial"/>
              <a:ea typeface="+mn-ea"/>
              <a:cs typeface="+mn-cs"/>
            </a:rPr>
            <a:t>ICG Sent Out</a:t>
          </a:r>
        </a:p>
      </dgm:t>
    </dgm:pt>
    <dgm:pt modelId="{21B3A410-BC1D-4742-914C-AFF5BCD45116}" type="parTrans" cxnId="{4F1CB7E6-416D-4A26-9C45-BF94EC4FF5E2}">
      <dgm:prSet/>
      <dgm:spPr/>
      <dgm:t>
        <a:bodyPr/>
        <a:lstStyle/>
        <a:p>
          <a:endParaRPr lang="en-US"/>
        </a:p>
      </dgm:t>
    </dgm:pt>
    <dgm:pt modelId="{6D45FE5C-76BF-4087-8539-491ECFD55754}" type="sibTrans" cxnId="{4F1CB7E6-416D-4A26-9C45-BF94EC4FF5E2}">
      <dgm:prSet/>
      <dgm:spPr/>
      <dgm:t>
        <a:bodyPr/>
        <a:lstStyle/>
        <a:p>
          <a:endParaRPr lang="en-US"/>
        </a:p>
      </dgm:t>
    </dgm:pt>
    <dgm:pt modelId="{87D3351F-ECDD-41A8-9047-A38FB6DC1D82}">
      <dgm:prSet phldrT="[Text]" custT="1"/>
      <dgm:spPr>
        <a:xfrm>
          <a:off x="1854791" y="1225536"/>
          <a:ext cx="4035840" cy="388453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 algn="r">
            <a:buNone/>
          </a:pPr>
          <a:r>
            <a:rPr lang="en-US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Late Aug/Early Sept 2026</a:t>
          </a:r>
        </a:p>
      </dgm:t>
    </dgm:pt>
    <dgm:pt modelId="{A262407A-5878-43AD-9DDC-57670E0C9A57}" type="parTrans" cxnId="{2FC17845-35DE-4E6F-8010-EC96492807AA}">
      <dgm:prSet/>
      <dgm:spPr/>
      <dgm:t>
        <a:bodyPr/>
        <a:lstStyle/>
        <a:p>
          <a:endParaRPr lang="en-US"/>
        </a:p>
      </dgm:t>
    </dgm:pt>
    <dgm:pt modelId="{98F30F49-4330-4587-8294-AABDE094905D}" type="sibTrans" cxnId="{2FC17845-35DE-4E6F-8010-EC96492807AA}">
      <dgm:prSet/>
      <dgm:spPr/>
      <dgm:t>
        <a:bodyPr/>
        <a:lstStyle/>
        <a:p>
          <a:endParaRPr lang="en-US"/>
        </a:p>
      </dgm:t>
    </dgm:pt>
    <dgm:pt modelId="{586368A2-4EC8-4BDF-8855-7784A1F80D45}">
      <dgm:prSet phldrT="[Text]" custT="1"/>
      <dgm:spPr>
        <a:xfrm>
          <a:off x="-436793" y="2041289"/>
          <a:ext cx="3165170" cy="388453"/>
        </a:xfrm>
        <a:prstGeom prst="round2SameRect">
          <a:avLst>
            <a:gd name="adj1" fmla="val 16670"/>
            <a:gd name="adj2" fmla="val 0"/>
          </a:avLst>
        </a:prstGeom>
        <a:gradFill rotWithShape="0">
          <a:gsLst>
            <a:gs pos="0">
              <a:srgbClr val="0F3859">
                <a:alpha val="90000"/>
                <a:hueOff val="0"/>
                <a:satOff val="0"/>
                <a:lumOff val="0"/>
                <a:alphaOff val="-25000"/>
                <a:shade val="51000"/>
                <a:satMod val="130000"/>
              </a:srgbClr>
            </a:gs>
            <a:gs pos="80000">
              <a:srgbClr val="0F3859">
                <a:alpha val="90000"/>
                <a:hueOff val="0"/>
                <a:satOff val="0"/>
                <a:lumOff val="0"/>
                <a:alphaOff val="-25000"/>
                <a:shade val="93000"/>
                <a:satMod val="130000"/>
              </a:srgbClr>
            </a:gs>
            <a:gs pos="100000">
              <a:srgbClr val="0F3859">
                <a:alpha val="90000"/>
                <a:hueOff val="0"/>
                <a:satOff val="0"/>
                <a:lumOff val="0"/>
                <a:alphaOff val="-25000"/>
                <a:shade val="94000"/>
                <a:satMod val="135000"/>
              </a:srgbClr>
            </a:gs>
          </a:gsLst>
          <a:lin ang="16200000" scaled="0"/>
        </a:gradFill>
        <a:ln w="9525" cap="flat" cmpd="sng" algn="ctr">
          <a:solidFill>
            <a:srgbClr val="0F3859">
              <a:alpha val="90000"/>
              <a:hueOff val="0"/>
              <a:satOff val="0"/>
              <a:lumOff val="0"/>
              <a:alphaOff val="-25000"/>
            </a:srgb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gm:spPr>
      <dgm:t>
        <a:bodyPr/>
        <a:lstStyle/>
        <a:p>
          <a:pPr algn="ctr">
            <a:buNone/>
          </a:pPr>
          <a:r>
            <a:rPr lang="en-US" sz="1600" dirty="0">
              <a:solidFill>
                <a:srgbClr val="FFFFFF"/>
              </a:solidFill>
              <a:latin typeface="Arial"/>
              <a:ea typeface="+mn-ea"/>
              <a:cs typeface="+mn-cs"/>
            </a:rPr>
            <a:t>Selection</a:t>
          </a:r>
        </a:p>
      </dgm:t>
    </dgm:pt>
    <dgm:pt modelId="{7B1466C3-7903-4DA7-9FBB-F4C4A85758D0}" type="parTrans" cxnId="{1E79E73A-BAA5-4347-9E92-F3E8A39D11BD}">
      <dgm:prSet/>
      <dgm:spPr/>
      <dgm:t>
        <a:bodyPr/>
        <a:lstStyle/>
        <a:p>
          <a:endParaRPr lang="en-US"/>
        </a:p>
      </dgm:t>
    </dgm:pt>
    <dgm:pt modelId="{8EB3D886-95F8-4541-A7C2-AF89682EC61F}" type="sibTrans" cxnId="{1E79E73A-BAA5-4347-9E92-F3E8A39D11BD}">
      <dgm:prSet/>
      <dgm:spPr/>
      <dgm:t>
        <a:bodyPr/>
        <a:lstStyle/>
        <a:p>
          <a:endParaRPr lang="en-US"/>
        </a:p>
      </dgm:t>
    </dgm:pt>
    <dgm:pt modelId="{87B91FD9-5E7A-4AC0-86C8-54C59ED39B00}">
      <dgm:prSet phldrT="[Text]" custT="1"/>
      <dgm:spPr>
        <a:xfrm>
          <a:off x="1854791" y="2041289"/>
          <a:ext cx="4035840" cy="388453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 algn="r">
            <a:buNone/>
          </a:pPr>
          <a:r>
            <a:rPr lang="en-US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September 2026</a:t>
          </a:r>
        </a:p>
      </dgm:t>
    </dgm:pt>
    <dgm:pt modelId="{8600C4C5-E0E7-41E6-9A79-94C3C11D4963}" type="parTrans" cxnId="{26186258-73A1-494B-85C3-7B58971F9BA6}">
      <dgm:prSet/>
      <dgm:spPr/>
      <dgm:t>
        <a:bodyPr/>
        <a:lstStyle/>
        <a:p>
          <a:endParaRPr lang="en-US"/>
        </a:p>
      </dgm:t>
    </dgm:pt>
    <dgm:pt modelId="{EC96343E-F2B1-4AE9-9C15-6ECB13FA5719}" type="sibTrans" cxnId="{26186258-73A1-494B-85C3-7B58971F9BA6}">
      <dgm:prSet/>
      <dgm:spPr/>
      <dgm:t>
        <a:bodyPr/>
        <a:lstStyle/>
        <a:p>
          <a:endParaRPr lang="en-US"/>
        </a:p>
      </dgm:t>
    </dgm:pt>
    <dgm:pt modelId="{4BE134C2-8B83-48AC-8D60-5095700756C7}">
      <dgm:prSet phldrT="[Text]" custT="1"/>
      <dgm:spPr>
        <a:xfrm>
          <a:off x="-436793" y="2449165"/>
          <a:ext cx="3165170" cy="388453"/>
        </a:xfrm>
        <a:prstGeom prst="round2SameRect">
          <a:avLst>
            <a:gd name="adj1" fmla="val 16670"/>
            <a:gd name="adj2" fmla="val 0"/>
          </a:avLst>
        </a:prstGeom>
        <a:gradFill rotWithShape="0">
          <a:gsLst>
            <a:gs pos="0">
              <a:srgbClr val="0F3859">
                <a:alpha val="90000"/>
                <a:hueOff val="0"/>
                <a:satOff val="0"/>
                <a:lumOff val="0"/>
                <a:alphaOff val="-30000"/>
                <a:shade val="51000"/>
                <a:satMod val="130000"/>
              </a:srgbClr>
            </a:gs>
            <a:gs pos="80000">
              <a:srgbClr val="0F3859">
                <a:alpha val="90000"/>
                <a:hueOff val="0"/>
                <a:satOff val="0"/>
                <a:lumOff val="0"/>
                <a:alphaOff val="-30000"/>
                <a:shade val="93000"/>
                <a:satMod val="130000"/>
              </a:srgbClr>
            </a:gs>
            <a:gs pos="100000">
              <a:srgbClr val="0F3859">
                <a:alpha val="90000"/>
                <a:hueOff val="0"/>
                <a:satOff val="0"/>
                <a:lumOff val="0"/>
                <a:alphaOff val="-30000"/>
                <a:shade val="94000"/>
                <a:satMod val="135000"/>
              </a:srgbClr>
            </a:gs>
          </a:gsLst>
          <a:lin ang="16200000" scaled="0"/>
        </a:gradFill>
        <a:ln w="9525" cap="flat" cmpd="sng" algn="ctr">
          <a:solidFill>
            <a:srgbClr val="0F3859">
              <a:alpha val="90000"/>
              <a:hueOff val="0"/>
              <a:satOff val="0"/>
              <a:lumOff val="0"/>
              <a:alphaOff val="-30000"/>
            </a:srgb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gm:spPr>
      <dgm:t>
        <a:bodyPr/>
        <a:lstStyle/>
        <a:p>
          <a:pPr algn="ctr">
            <a:buNone/>
          </a:pPr>
          <a:r>
            <a:rPr lang="en-US" sz="1600" dirty="0">
              <a:solidFill>
                <a:srgbClr val="FFFFFF"/>
              </a:solidFill>
              <a:latin typeface="Arial"/>
              <a:ea typeface="+mn-ea"/>
              <a:cs typeface="+mn-cs"/>
            </a:rPr>
            <a:t>Complete Negotiations </a:t>
          </a:r>
        </a:p>
      </dgm:t>
    </dgm:pt>
    <dgm:pt modelId="{40447C8C-A931-49C8-A439-4D7DFEA56326}" type="parTrans" cxnId="{EBB55C95-20D5-405D-B290-E3DE09D514FA}">
      <dgm:prSet/>
      <dgm:spPr/>
      <dgm:t>
        <a:bodyPr/>
        <a:lstStyle/>
        <a:p>
          <a:endParaRPr lang="en-US"/>
        </a:p>
      </dgm:t>
    </dgm:pt>
    <dgm:pt modelId="{8F044F4B-5664-46A6-B15A-3D8E69FB9CE2}" type="sibTrans" cxnId="{EBB55C95-20D5-405D-B290-E3DE09D514FA}">
      <dgm:prSet/>
      <dgm:spPr/>
      <dgm:t>
        <a:bodyPr/>
        <a:lstStyle/>
        <a:p>
          <a:endParaRPr lang="en-US"/>
        </a:p>
      </dgm:t>
    </dgm:pt>
    <dgm:pt modelId="{B264B1BD-0876-420C-B876-E9C66E9C9825}">
      <dgm:prSet phldrT="[Text]" custT="1"/>
      <dgm:spPr>
        <a:xfrm>
          <a:off x="1854791" y="2449165"/>
          <a:ext cx="4035840" cy="388453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 algn="r">
            <a:buNone/>
          </a:pPr>
          <a:r>
            <a:rPr lang="en-US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October 2026</a:t>
          </a:r>
        </a:p>
      </dgm:t>
    </dgm:pt>
    <dgm:pt modelId="{7D6D358E-09E6-42EF-9CD7-42818429B90D}" type="parTrans" cxnId="{A40EF6B5-6538-4C33-A058-8A24DE7B6708}">
      <dgm:prSet/>
      <dgm:spPr/>
      <dgm:t>
        <a:bodyPr/>
        <a:lstStyle/>
        <a:p>
          <a:endParaRPr lang="en-US"/>
        </a:p>
      </dgm:t>
    </dgm:pt>
    <dgm:pt modelId="{702A9CDA-1DC5-4394-9C74-950A065E2D64}" type="sibTrans" cxnId="{A40EF6B5-6538-4C33-A058-8A24DE7B6708}">
      <dgm:prSet/>
      <dgm:spPr/>
      <dgm:t>
        <a:bodyPr/>
        <a:lstStyle/>
        <a:p>
          <a:endParaRPr lang="en-US"/>
        </a:p>
      </dgm:t>
    </dgm:pt>
    <dgm:pt modelId="{9D91FF80-2F9B-46E3-9107-8F2B1598D33A}">
      <dgm:prSet phldrT="[Text]" custT="1"/>
      <dgm:spPr>
        <a:xfrm>
          <a:off x="-436793" y="3264918"/>
          <a:ext cx="3165170" cy="388453"/>
        </a:xfrm>
        <a:prstGeom prst="round2SameRect">
          <a:avLst>
            <a:gd name="adj1" fmla="val 16670"/>
            <a:gd name="adj2" fmla="val 0"/>
          </a:avLst>
        </a:prstGeom>
        <a:gradFill rotWithShape="0">
          <a:gsLst>
            <a:gs pos="0">
              <a:srgbClr val="0F3859">
                <a:alpha val="90000"/>
                <a:hueOff val="0"/>
                <a:satOff val="0"/>
                <a:lumOff val="0"/>
                <a:alphaOff val="-40000"/>
                <a:shade val="51000"/>
                <a:satMod val="130000"/>
              </a:srgbClr>
            </a:gs>
            <a:gs pos="80000">
              <a:srgbClr val="0F3859">
                <a:alpha val="90000"/>
                <a:hueOff val="0"/>
                <a:satOff val="0"/>
                <a:lumOff val="0"/>
                <a:alphaOff val="-40000"/>
                <a:shade val="93000"/>
                <a:satMod val="130000"/>
              </a:srgbClr>
            </a:gs>
            <a:gs pos="100000">
              <a:srgbClr val="0F3859">
                <a:alpha val="90000"/>
                <a:hueOff val="0"/>
                <a:satOff val="0"/>
                <a:lumOff val="0"/>
                <a:alphaOff val="-40000"/>
                <a:shade val="94000"/>
                <a:satMod val="135000"/>
              </a:srgbClr>
            </a:gs>
          </a:gsLst>
          <a:lin ang="16200000" scaled="0"/>
        </a:gradFill>
        <a:ln w="9525" cap="flat" cmpd="sng" algn="ctr">
          <a:solidFill>
            <a:srgbClr val="0F3859">
              <a:alpha val="90000"/>
              <a:hueOff val="0"/>
              <a:satOff val="0"/>
              <a:lumOff val="0"/>
              <a:alphaOff val="-40000"/>
            </a:srgb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gm:spPr>
      <dgm:t>
        <a:bodyPr/>
        <a:lstStyle/>
        <a:p>
          <a:pPr algn="ctr">
            <a:buNone/>
          </a:pPr>
          <a:r>
            <a:rPr lang="en-US" sz="1600" dirty="0">
              <a:solidFill>
                <a:srgbClr val="FFFFFF"/>
              </a:solidFill>
              <a:latin typeface="Arial"/>
              <a:ea typeface="+mn-ea"/>
              <a:cs typeface="+mn-cs"/>
            </a:rPr>
            <a:t>Debriefs to be held after selection</a:t>
          </a:r>
        </a:p>
      </dgm:t>
    </dgm:pt>
    <dgm:pt modelId="{6EE34E06-7609-4D33-A3E3-9C47838C4344}" type="parTrans" cxnId="{4E547E70-1FAE-47DB-AD1F-42E4A16C687B}">
      <dgm:prSet/>
      <dgm:spPr/>
      <dgm:t>
        <a:bodyPr/>
        <a:lstStyle/>
        <a:p>
          <a:endParaRPr lang="en-US"/>
        </a:p>
      </dgm:t>
    </dgm:pt>
    <dgm:pt modelId="{C13C4D46-D9B1-4E1C-BD4E-76E9AA3973E1}" type="sibTrans" cxnId="{4E547E70-1FAE-47DB-AD1F-42E4A16C687B}">
      <dgm:prSet/>
      <dgm:spPr/>
      <dgm:t>
        <a:bodyPr/>
        <a:lstStyle/>
        <a:p>
          <a:endParaRPr lang="en-US"/>
        </a:p>
      </dgm:t>
    </dgm:pt>
    <dgm:pt modelId="{9F75F781-62C8-4907-8BC4-C8C2C7AA7A36}">
      <dgm:prSet phldrT="[Text]" custT="1"/>
      <dgm:spPr>
        <a:xfrm>
          <a:off x="1854791" y="2857042"/>
          <a:ext cx="4035840" cy="388453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 algn="r">
            <a:buNone/>
          </a:pPr>
          <a:r>
            <a:rPr lang="en-US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December 2026</a:t>
          </a:r>
        </a:p>
      </dgm:t>
    </dgm:pt>
    <dgm:pt modelId="{3F97A8A7-5F8D-4496-8FD1-114407C7AE82}" type="parTrans" cxnId="{11963FE2-DCC8-4503-BEA6-A034A060366F}">
      <dgm:prSet/>
      <dgm:spPr/>
      <dgm:t>
        <a:bodyPr/>
        <a:lstStyle/>
        <a:p>
          <a:endParaRPr lang="en-US"/>
        </a:p>
      </dgm:t>
    </dgm:pt>
    <dgm:pt modelId="{D33C9FAB-1517-4321-AF79-E72308BD10CE}" type="sibTrans" cxnId="{11963FE2-DCC8-4503-BEA6-A034A060366F}">
      <dgm:prSet/>
      <dgm:spPr/>
      <dgm:t>
        <a:bodyPr/>
        <a:lstStyle/>
        <a:p>
          <a:endParaRPr lang="en-US"/>
        </a:p>
      </dgm:t>
    </dgm:pt>
    <dgm:pt modelId="{37B1C8EA-367C-453E-8278-37DA3A075C9E}">
      <dgm:prSet phldrT="[Text]" custT="1"/>
      <dgm:spPr>
        <a:xfrm>
          <a:off x="-436793" y="1633413"/>
          <a:ext cx="3165170" cy="388453"/>
        </a:xfrm>
        <a:prstGeom prst="round2SameRect">
          <a:avLst>
            <a:gd name="adj1" fmla="val 16670"/>
            <a:gd name="adj2" fmla="val 0"/>
          </a:avLst>
        </a:prstGeom>
        <a:gradFill rotWithShape="0">
          <a:gsLst>
            <a:gs pos="0">
              <a:srgbClr val="0F3859">
                <a:alpha val="90000"/>
                <a:hueOff val="0"/>
                <a:satOff val="0"/>
                <a:lumOff val="0"/>
                <a:alphaOff val="-20000"/>
                <a:shade val="51000"/>
                <a:satMod val="130000"/>
              </a:srgbClr>
            </a:gs>
            <a:gs pos="80000">
              <a:srgbClr val="0F3859">
                <a:alpha val="90000"/>
                <a:hueOff val="0"/>
                <a:satOff val="0"/>
                <a:lumOff val="0"/>
                <a:alphaOff val="-20000"/>
                <a:shade val="93000"/>
                <a:satMod val="130000"/>
              </a:srgbClr>
            </a:gs>
            <a:gs pos="100000">
              <a:srgbClr val="0F3859">
                <a:alpha val="90000"/>
                <a:hueOff val="0"/>
                <a:satOff val="0"/>
                <a:lumOff val="0"/>
                <a:alphaOff val="-20000"/>
                <a:shade val="94000"/>
                <a:satMod val="135000"/>
              </a:srgbClr>
            </a:gs>
          </a:gsLst>
          <a:lin ang="16200000" scaled="0"/>
        </a:gradFill>
        <a:ln w="9525" cap="flat" cmpd="sng" algn="ctr">
          <a:solidFill>
            <a:srgbClr val="0F3859">
              <a:alpha val="90000"/>
              <a:hueOff val="0"/>
              <a:satOff val="0"/>
              <a:lumOff val="0"/>
              <a:alphaOff val="-20000"/>
            </a:srgb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gm:spPr>
      <dgm:t>
        <a:bodyPr/>
        <a:lstStyle/>
        <a:p>
          <a:pPr algn="ctr">
            <a:buNone/>
          </a:pPr>
          <a:r>
            <a:rPr lang="en-US" sz="1600" dirty="0">
              <a:solidFill>
                <a:srgbClr val="FFFFFF"/>
              </a:solidFill>
              <a:latin typeface="Arial"/>
              <a:ea typeface="+mn-ea"/>
              <a:cs typeface="+mn-cs"/>
            </a:rPr>
            <a:t>Interviews</a:t>
          </a:r>
        </a:p>
      </dgm:t>
    </dgm:pt>
    <dgm:pt modelId="{D83E2BF1-F823-4762-BA9F-FF83FF9B9F1E}" type="parTrans" cxnId="{96D6ABF4-73CB-4B72-BAA1-5BD9697C4C50}">
      <dgm:prSet/>
      <dgm:spPr/>
      <dgm:t>
        <a:bodyPr/>
        <a:lstStyle/>
        <a:p>
          <a:endParaRPr lang="en-US"/>
        </a:p>
      </dgm:t>
    </dgm:pt>
    <dgm:pt modelId="{094BFBF1-3937-41AD-9F2A-CC4C13AC78E1}" type="sibTrans" cxnId="{96D6ABF4-73CB-4B72-BAA1-5BD9697C4C50}">
      <dgm:prSet/>
      <dgm:spPr/>
      <dgm:t>
        <a:bodyPr/>
        <a:lstStyle/>
        <a:p>
          <a:endParaRPr lang="en-US"/>
        </a:p>
      </dgm:t>
    </dgm:pt>
    <dgm:pt modelId="{2F5651C9-548E-459D-BE87-1D3E846476E7}">
      <dgm:prSet phldrT="[Text]" custT="1"/>
      <dgm:spPr>
        <a:xfrm>
          <a:off x="1854791" y="1633413"/>
          <a:ext cx="4035840" cy="388453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 algn="r">
            <a:buNone/>
          </a:pPr>
          <a:r>
            <a:rPr lang="en-US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September 2026</a:t>
          </a:r>
        </a:p>
      </dgm:t>
    </dgm:pt>
    <dgm:pt modelId="{37EB7916-729F-4063-B4D0-041EECF85FAB}" type="parTrans" cxnId="{CAB2A861-BE33-46F4-8223-5F7A56304077}">
      <dgm:prSet/>
      <dgm:spPr/>
      <dgm:t>
        <a:bodyPr/>
        <a:lstStyle/>
        <a:p>
          <a:endParaRPr lang="en-US"/>
        </a:p>
      </dgm:t>
    </dgm:pt>
    <dgm:pt modelId="{28ABCF4B-BC61-4B59-9CCF-EA4D45C3D7AB}" type="sibTrans" cxnId="{CAB2A861-BE33-46F4-8223-5F7A56304077}">
      <dgm:prSet/>
      <dgm:spPr/>
      <dgm:t>
        <a:bodyPr/>
        <a:lstStyle/>
        <a:p>
          <a:endParaRPr lang="en-US"/>
        </a:p>
      </dgm:t>
    </dgm:pt>
    <dgm:pt modelId="{426AE914-E457-4A05-BF15-502C457524AC}" type="pres">
      <dgm:prSet presAssocID="{18486976-23CD-46A3-921A-D3924E3A6380}" presName="Name0" presStyleCnt="0">
        <dgm:presLayoutVars>
          <dgm:chMax/>
          <dgm:chPref val="3"/>
          <dgm:dir/>
          <dgm:animOne val="branch"/>
          <dgm:animLvl val="lvl"/>
        </dgm:presLayoutVars>
      </dgm:prSet>
      <dgm:spPr/>
    </dgm:pt>
    <dgm:pt modelId="{BCEB2487-AB78-4E64-9D3F-B8A6C546C5AB}" type="pres">
      <dgm:prSet presAssocID="{D6A4DB0A-DD96-44FE-818F-16DE1A208A88}" presName="composite" presStyleCnt="0"/>
      <dgm:spPr/>
    </dgm:pt>
    <dgm:pt modelId="{D21D972E-8C02-4A13-9B75-9277A5556067}" type="pres">
      <dgm:prSet presAssocID="{D6A4DB0A-DD96-44FE-818F-16DE1A208A88}" presName="FirstChild" presStyleLbl="revTx" presStyleIdx="0" presStyleCnt="9">
        <dgm:presLayoutVars>
          <dgm:chMax val="0"/>
          <dgm:chPref val="0"/>
          <dgm:bulletEnabled val="1"/>
        </dgm:presLayoutVars>
      </dgm:prSet>
      <dgm:spPr/>
    </dgm:pt>
    <dgm:pt modelId="{6083460A-0CB7-43B3-BC99-10A373FA006F}" type="pres">
      <dgm:prSet presAssocID="{D6A4DB0A-DD96-44FE-818F-16DE1A208A88}" presName="Parent" presStyleLbl="alignNode1" presStyleIdx="0" presStyleCnt="9" custScaleX="223214">
        <dgm:presLayoutVars>
          <dgm:chMax val="3"/>
          <dgm:chPref val="3"/>
          <dgm:bulletEnabled val="1"/>
        </dgm:presLayoutVars>
      </dgm:prSet>
      <dgm:spPr/>
    </dgm:pt>
    <dgm:pt modelId="{8E973344-4DC1-49E9-9788-5FECD467D9D1}" type="pres">
      <dgm:prSet presAssocID="{D6A4DB0A-DD96-44FE-818F-16DE1A208A88}" presName="Accent" presStyleLbl="parChTrans1D1" presStyleIdx="0" presStyleCnt="9"/>
      <dgm:spPr>
        <a:xfrm>
          <a:off x="436793" y="390361"/>
          <a:ext cx="5453838" cy="0"/>
        </a:xfrm>
        <a:prstGeom prst="line">
          <a:avLst/>
        </a:prstGeom>
        <a:noFill/>
        <a:ln w="9525" cap="flat" cmpd="sng" algn="ctr">
          <a:solidFill>
            <a:srgbClr val="0F3859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</dgm:pt>
    <dgm:pt modelId="{E26F4384-5B93-448D-B0AF-85770FE58070}" type="pres">
      <dgm:prSet presAssocID="{F63A8CE5-2B6A-4638-A7BA-0876DA15207A}" presName="sibTrans" presStyleCnt="0"/>
      <dgm:spPr/>
    </dgm:pt>
    <dgm:pt modelId="{331D4CB3-A234-4BFA-87BD-AFF90CF395FF}" type="pres">
      <dgm:prSet presAssocID="{5BD5E905-23DE-4399-A278-5EEA1CC1E0CB}" presName="composite" presStyleCnt="0"/>
      <dgm:spPr/>
    </dgm:pt>
    <dgm:pt modelId="{B90021ED-0034-4A1A-8D06-9FC20674A098}" type="pres">
      <dgm:prSet presAssocID="{5BD5E905-23DE-4399-A278-5EEA1CC1E0CB}" presName="FirstChild" presStyleLbl="revTx" presStyleIdx="1" presStyleCnt="9">
        <dgm:presLayoutVars>
          <dgm:chMax val="0"/>
          <dgm:chPref val="0"/>
          <dgm:bulletEnabled val="1"/>
        </dgm:presLayoutVars>
      </dgm:prSet>
      <dgm:spPr/>
    </dgm:pt>
    <dgm:pt modelId="{F94506FA-B671-4165-9F05-6DA14FDA6AA0}" type="pres">
      <dgm:prSet presAssocID="{5BD5E905-23DE-4399-A278-5EEA1CC1E0CB}" presName="Parent" presStyleLbl="alignNode1" presStyleIdx="1" presStyleCnt="9" custScaleX="223214">
        <dgm:presLayoutVars>
          <dgm:chMax val="3"/>
          <dgm:chPref val="3"/>
          <dgm:bulletEnabled val="1"/>
        </dgm:presLayoutVars>
      </dgm:prSet>
      <dgm:spPr/>
    </dgm:pt>
    <dgm:pt modelId="{BE51DB2B-6E63-4598-94AA-4D5AE7392D45}" type="pres">
      <dgm:prSet presAssocID="{5BD5E905-23DE-4399-A278-5EEA1CC1E0CB}" presName="Accent" presStyleLbl="parChTrans1D1" presStyleIdx="1" presStyleCnt="9"/>
      <dgm:spPr>
        <a:xfrm>
          <a:off x="436793" y="798237"/>
          <a:ext cx="5453838" cy="0"/>
        </a:xfrm>
        <a:prstGeom prst="line">
          <a:avLst/>
        </a:prstGeom>
        <a:noFill/>
        <a:ln w="9525" cap="flat" cmpd="sng" algn="ctr">
          <a:solidFill>
            <a:srgbClr val="0F3859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</dgm:pt>
    <dgm:pt modelId="{6AF6139C-68CC-494A-80BE-7392F7B8CC7D}" type="pres">
      <dgm:prSet presAssocID="{72DA57E1-5B0D-46BC-A2C1-97F0606B5921}" presName="sibTrans" presStyleCnt="0"/>
      <dgm:spPr/>
    </dgm:pt>
    <dgm:pt modelId="{87873187-C710-4E4D-8DE8-B124FF35E11C}" type="pres">
      <dgm:prSet presAssocID="{8D682060-0CD9-42F2-AFC6-150AE16077FF}" presName="composite" presStyleCnt="0"/>
      <dgm:spPr/>
    </dgm:pt>
    <dgm:pt modelId="{D6893497-CAB4-4BC5-915E-7BE52879406B}" type="pres">
      <dgm:prSet presAssocID="{8D682060-0CD9-42F2-AFC6-150AE16077FF}" presName="FirstChild" presStyleLbl="revTx" presStyleIdx="2" presStyleCnt="9">
        <dgm:presLayoutVars>
          <dgm:chMax val="0"/>
          <dgm:chPref val="0"/>
          <dgm:bulletEnabled val="1"/>
        </dgm:presLayoutVars>
      </dgm:prSet>
      <dgm:spPr/>
    </dgm:pt>
    <dgm:pt modelId="{1EB0ED7F-E7BE-491E-9C66-4DC2FBED6501}" type="pres">
      <dgm:prSet presAssocID="{8D682060-0CD9-42F2-AFC6-150AE16077FF}" presName="Parent" presStyleLbl="alignNode1" presStyleIdx="2" presStyleCnt="9" custScaleX="223214">
        <dgm:presLayoutVars>
          <dgm:chMax val="3"/>
          <dgm:chPref val="3"/>
          <dgm:bulletEnabled val="1"/>
        </dgm:presLayoutVars>
      </dgm:prSet>
      <dgm:spPr/>
    </dgm:pt>
    <dgm:pt modelId="{1E6B096B-370E-4AF9-BC05-7077BBADE693}" type="pres">
      <dgm:prSet presAssocID="{8D682060-0CD9-42F2-AFC6-150AE16077FF}" presName="Accent" presStyleLbl="parChTrans1D1" presStyleIdx="2" presStyleCnt="9"/>
      <dgm:spPr>
        <a:xfrm>
          <a:off x="436793" y="1206114"/>
          <a:ext cx="5453838" cy="0"/>
        </a:xfrm>
        <a:prstGeom prst="line">
          <a:avLst/>
        </a:prstGeom>
        <a:noFill/>
        <a:ln w="9525" cap="flat" cmpd="sng" algn="ctr">
          <a:solidFill>
            <a:srgbClr val="0F3859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</dgm:pt>
    <dgm:pt modelId="{CFC4B7DB-70AE-4E6E-8D2A-C2235B4843D9}" type="pres">
      <dgm:prSet presAssocID="{C50C187F-49A0-40B7-986A-FCF0EB2DCC65}" presName="sibTrans" presStyleCnt="0"/>
      <dgm:spPr/>
    </dgm:pt>
    <dgm:pt modelId="{87F5211A-1CD3-4442-BE6B-7BA05EE7FC76}" type="pres">
      <dgm:prSet presAssocID="{75C57F16-71CA-467D-865A-10551A05A59F}" presName="composite" presStyleCnt="0"/>
      <dgm:spPr/>
    </dgm:pt>
    <dgm:pt modelId="{6399AE0B-03A2-4B7A-A624-3661F398BBC9}" type="pres">
      <dgm:prSet presAssocID="{75C57F16-71CA-467D-865A-10551A05A59F}" presName="FirstChild" presStyleLbl="revTx" presStyleIdx="3" presStyleCnt="9">
        <dgm:presLayoutVars>
          <dgm:chMax val="0"/>
          <dgm:chPref val="0"/>
          <dgm:bulletEnabled val="1"/>
        </dgm:presLayoutVars>
      </dgm:prSet>
      <dgm:spPr/>
    </dgm:pt>
    <dgm:pt modelId="{6D0C9CB6-4260-4DC2-A232-1D89C8FD90D1}" type="pres">
      <dgm:prSet presAssocID="{75C57F16-71CA-467D-865A-10551A05A59F}" presName="Parent" presStyleLbl="alignNode1" presStyleIdx="3" presStyleCnt="9" custScaleX="223214">
        <dgm:presLayoutVars>
          <dgm:chMax val="3"/>
          <dgm:chPref val="3"/>
          <dgm:bulletEnabled val="1"/>
        </dgm:presLayoutVars>
      </dgm:prSet>
      <dgm:spPr/>
    </dgm:pt>
    <dgm:pt modelId="{6E1997FA-DC64-4848-B75D-187D5A1A9E86}" type="pres">
      <dgm:prSet presAssocID="{75C57F16-71CA-467D-865A-10551A05A59F}" presName="Accent" presStyleLbl="parChTrans1D1" presStyleIdx="3" presStyleCnt="9"/>
      <dgm:spPr>
        <a:xfrm>
          <a:off x="436793" y="1613990"/>
          <a:ext cx="5453838" cy="0"/>
        </a:xfrm>
        <a:prstGeom prst="line">
          <a:avLst/>
        </a:prstGeom>
        <a:noFill/>
        <a:ln w="9525" cap="flat" cmpd="sng" algn="ctr">
          <a:solidFill>
            <a:srgbClr val="0F3859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</dgm:pt>
    <dgm:pt modelId="{ED9D67D6-3AB7-4286-896D-80BBDF96E9B1}" type="pres">
      <dgm:prSet presAssocID="{6D45FE5C-76BF-4087-8539-491ECFD55754}" presName="sibTrans" presStyleCnt="0"/>
      <dgm:spPr/>
    </dgm:pt>
    <dgm:pt modelId="{F5D6B991-E8A1-4575-A9D1-30BD887416F1}" type="pres">
      <dgm:prSet presAssocID="{37B1C8EA-367C-453E-8278-37DA3A075C9E}" presName="composite" presStyleCnt="0"/>
      <dgm:spPr/>
    </dgm:pt>
    <dgm:pt modelId="{02B16C45-0D9D-4C2D-9EA8-8C0F3569A1C4}" type="pres">
      <dgm:prSet presAssocID="{37B1C8EA-367C-453E-8278-37DA3A075C9E}" presName="FirstChild" presStyleLbl="revTx" presStyleIdx="4" presStyleCnt="9">
        <dgm:presLayoutVars>
          <dgm:chMax val="0"/>
          <dgm:chPref val="0"/>
          <dgm:bulletEnabled val="1"/>
        </dgm:presLayoutVars>
      </dgm:prSet>
      <dgm:spPr/>
    </dgm:pt>
    <dgm:pt modelId="{40F44694-3584-418B-84F8-85D8AC37903B}" type="pres">
      <dgm:prSet presAssocID="{37B1C8EA-367C-453E-8278-37DA3A075C9E}" presName="Parent" presStyleLbl="alignNode1" presStyleIdx="4" presStyleCnt="9" custScaleX="223214">
        <dgm:presLayoutVars>
          <dgm:chMax val="3"/>
          <dgm:chPref val="3"/>
          <dgm:bulletEnabled val="1"/>
        </dgm:presLayoutVars>
      </dgm:prSet>
      <dgm:spPr/>
    </dgm:pt>
    <dgm:pt modelId="{211367D3-A568-4BBA-A0C6-03307052D445}" type="pres">
      <dgm:prSet presAssocID="{37B1C8EA-367C-453E-8278-37DA3A075C9E}" presName="Accent" presStyleLbl="parChTrans1D1" presStyleIdx="4" presStyleCnt="9"/>
      <dgm:spPr>
        <a:xfrm>
          <a:off x="436793" y="2021866"/>
          <a:ext cx="5453838" cy="0"/>
        </a:xfrm>
        <a:prstGeom prst="line">
          <a:avLst/>
        </a:prstGeom>
        <a:noFill/>
        <a:ln w="9525" cap="flat" cmpd="sng" algn="ctr">
          <a:solidFill>
            <a:srgbClr val="0F3859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</dgm:pt>
    <dgm:pt modelId="{DCFDEA7A-BB43-46BF-8E34-5F788558BA7F}" type="pres">
      <dgm:prSet presAssocID="{094BFBF1-3937-41AD-9F2A-CC4C13AC78E1}" presName="sibTrans" presStyleCnt="0"/>
      <dgm:spPr/>
    </dgm:pt>
    <dgm:pt modelId="{33113412-81F5-43AE-AA0D-8C1439DDCA93}" type="pres">
      <dgm:prSet presAssocID="{586368A2-4EC8-4BDF-8855-7784A1F80D45}" presName="composite" presStyleCnt="0"/>
      <dgm:spPr/>
    </dgm:pt>
    <dgm:pt modelId="{447DF322-532A-4B3E-8A67-BA98C969444E}" type="pres">
      <dgm:prSet presAssocID="{586368A2-4EC8-4BDF-8855-7784A1F80D45}" presName="FirstChild" presStyleLbl="revTx" presStyleIdx="5" presStyleCnt="9">
        <dgm:presLayoutVars>
          <dgm:chMax val="0"/>
          <dgm:chPref val="0"/>
          <dgm:bulletEnabled val="1"/>
        </dgm:presLayoutVars>
      </dgm:prSet>
      <dgm:spPr/>
    </dgm:pt>
    <dgm:pt modelId="{A852BDAD-B6B8-4418-879A-1088E774B707}" type="pres">
      <dgm:prSet presAssocID="{586368A2-4EC8-4BDF-8855-7784A1F80D45}" presName="Parent" presStyleLbl="alignNode1" presStyleIdx="5" presStyleCnt="9" custScaleX="223214">
        <dgm:presLayoutVars>
          <dgm:chMax val="3"/>
          <dgm:chPref val="3"/>
          <dgm:bulletEnabled val="1"/>
        </dgm:presLayoutVars>
      </dgm:prSet>
      <dgm:spPr/>
    </dgm:pt>
    <dgm:pt modelId="{5D309975-C661-4731-A07E-4105163FB3F2}" type="pres">
      <dgm:prSet presAssocID="{586368A2-4EC8-4BDF-8855-7784A1F80D45}" presName="Accent" presStyleLbl="parChTrans1D1" presStyleIdx="5" presStyleCnt="9"/>
      <dgm:spPr>
        <a:xfrm>
          <a:off x="436793" y="2429743"/>
          <a:ext cx="5453838" cy="0"/>
        </a:xfrm>
        <a:prstGeom prst="line">
          <a:avLst/>
        </a:prstGeom>
        <a:noFill/>
        <a:ln w="9525" cap="flat" cmpd="sng" algn="ctr">
          <a:solidFill>
            <a:srgbClr val="0F3859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</dgm:pt>
    <dgm:pt modelId="{79121682-1986-41FD-8924-50B6DB61D9D8}" type="pres">
      <dgm:prSet presAssocID="{8EB3D886-95F8-4541-A7C2-AF89682EC61F}" presName="sibTrans" presStyleCnt="0"/>
      <dgm:spPr/>
    </dgm:pt>
    <dgm:pt modelId="{F7632A39-1BB3-4E5D-A64B-99F03E914A00}" type="pres">
      <dgm:prSet presAssocID="{4BE134C2-8B83-48AC-8D60-5095700756C7}" presName="composite" presStyleCnt="0"/>
      <dgm:spPr/>
    </dgm:pt>
    <dgm:pt modelId="{D1E9B6C2-3809-4E79-8AB8-492295819A92}" type="pres">
      <dgm:prSet presAssocID="{4BE134C2-8B83-48AC-8D60-5095700756C7}" presName="FirstChild" presStyleLbl="revTx" presStyleIdx="6" presStyleCnt="9">
        <dgm:presLayoutVars>
          <dgm:chMax val="0"/>
          <dgm:chPref val="0"/>
          <dgm:bulletEnabled val="1"/>
        </dgm:presLayoutVars>
      </dgm:prSet>
      <dgm:spPr/>
    </dgm:pt>
    <dgm:pt modelId="{14E64A6B-2D77-469F-B7BB-077879857C9F}" type="pres">
      <dgm:prSet presAssocID="{4BE134C2-8B83-48AC-8D60-5095700756C7}" presName="Parent" presStyleLbl="alignNode1" presStyleIdx="6" presStyleCnt="9" custScaleX="223214">
        <dgm:presLayoutVars>
          <dgm:chMax val="3"/>
          <dgm:chPref val="3"/>
          <dgm:bulletEnabled val="1"/>
        </dgm:presLayoutVars>
      </dgm:prSet>
      <dgm:spPr/>
    </dgm:pt>
    <dgm:pt modelId="{BFEC6A4D-E13A-4EE1-A6C4-D51CD5C029CE}" type="pres">
      <dgm:prSet presAssocID="{4BE134C2-8B83-48AC-8D60-5095700756C7}" presName="Accent" presStyleLbl="parChTrans1D1" presStyleIdx="6" presStyleCnt="9"/>
      <dgm:spPr>
        <a:xfrm>
          <a:off x="436793" y="2837619"/>
          <a:ext cx="5453838" cy="0"/>
        </a:xfrm>
        <a:prstGeom prst="line">
          <a:avLst/>
        </a:prstGeom>
        <a:noFill/>
        <a:ln w="9525" cap="flat" cmpd="sng" algn="ctr">
          <a:solidFill>
            <a:srgbClr val="0F3859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</dgm:pt>
    <dgm:pt modelId="{94EEF9B8-F9FA-46D3-A0E3-DB2D79DE631F}" type="pres">
      <dgm:prSet presAssocID="{8F044F4B-5664-46A6-B15A-3D8E69FB9CE2}" presName="sibTrans" presStyleCnt="0"/>
      <dgm:spPr/>
    </dgm:pt>
    <dgm:pt modelId="{73EE2418-B1F1-4C71-B95B-56E2466C6EB0}" type="pres">
      <dgm:prSet presAssocID="{194549C0-6F9D-4D27-832D-C2744EE80572}" presName="composite" presStyleCnt="0"/>
      <dgm:spPr/>
    </dgm:pt>
    <dgm:pt modelId="{E6553C32-F345-4873-B274-4992EBC40F9F}" type="pres">
      <dgm:prSet presAssocID="{194549C0-6F9D-4D27-832D-C2744EE80572}" presName="FirstChild" presStyleLbl="revTx" presStyleIdx="7" presStyleCnt="9">
        <dgm:presLayoutVars>
          <dgm:chMax val="0"/>
          <dgm:chPref val="0"/>
          <dgm:bulletEnabled val="1"/>
        </dgm:presLayoutVars>
      </dgm:prSet>
      <dgm:spPr/>
    </dgm:pt>
    <dgm:pt modelId="{64EAB587-9BD7-4CFD-A0F8-9F6E9481685A}" type="pres">
      <dgm:prSet presAssocID="{194549C0-6F9D-4D27-832D-C2744EE80572}" presName="Parent" presStyleLbl="alignNode1" presStyleIdx="7" presStyleCnt="9" custScaleX="223214">
        <dgm:presLayoutVars>
          <dgm:chMax val="3"/>
          <dgm:chPref val="3"/>
          <dgm:bulletEnabled val="1"/>
        </dgm:presLayoutVars>
      </dgm:prSet>
      <dgm:spPr/>
    </dgm:pt>
    <dgm:pt modelId="{40DD08FD-AAB9-4760-AC24-4516FB2D0D46}" type="pres">
      <dgm:prSet presAssocID="{194549C0-6F9D-4D27-832D-C2744EE80572}" presName="Accent" presStyleLbl="parChTrans1D1" presStyleIdx="7" presStyleCnt="9"/>
      <dgm:spPr>
        <a:xfrm>
          <a:off x="436793" y="3245495"/>
          <a:ext cx="5453838" cy="0"/>
        </a:xfrm>
        <a:prstGeom prst="line">
          <a:avLst/>
        </a:prstGeom>
        <a:noFill/>
        <a:ln w="9525" cap="flat" cmpd="sng" algn="ctr">
          <a:solidFill>
            <a:srgbClr val="0F3859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</dgm:pt>
    <dgm:pt modelId="{10C0C423-58BB-41F8-8956-7488BF12C93D}" type="pres">
      <dgm:prSet presAssocID="{F5878483-EC0D-4C1A-A4C9-B39DE70EC18A}" presName="sibTrans" presStyleCnt="0"/>
      <dgm:spPr/>
    </dgm:pt>
    <dgm:pt modelId="{D03E98EC-E392-4DD8-8C5A-DD9F39C9543E}" type="pres">
      <dgm:prSet presAssocID="{9D91FF80-2F9B-46E3-9107-8F2B1598D33A}" presName="composite" presStyleCnt="0"/>
      <dgm:spPr/>
    </dgm:pt>
    <dgm:pt modelId="{F4A6F602-B49E-4C01-A123-8450F84008E2}" type="pres">
      <dgm:prSet presAssocID="{9D91FF80-2F9B-46E3-9107-8F2B1598D33A}" presName="FirstChild" presStyleLbl="revTx" presStyleIdx="8" presStyleCnt="9">
        <dgm:presLayoutVars>
          <dgm:chMax val="0"/>
          <dgm:chPref val="0"/>
          <dgm:bulletEnabled val="1"/>
        </dgm:presLayoutVars>
      </dgm:prSet>
      <dgm:spPr>
        <a:xfrm>
          <a:off x="1854791" y="3264918"/>
          <a:ext cx="4035840" cy="388453"/>
        </a:xfrm>
        <a:prstGeom prst="rect">
          <a:avLst/>
        </a:prstGeom>
        <a:noFill/>
        <a:ln>
          <a:noFill/>
        </a:ln>
        <a:effectLst/>
      </dgm:spPr>
    </dgm:pt>
    <dgm:pt modelId="{1618A078-3330-48BE-88DF-DB5D10E2EBBB}" type="pres">
      <dgm:prSet presAssocID="{9D91FF80-2F9B-46E3-9107-8F2B1598D33A}" presName="Parent" presStyleLbl="alignNode1" presStyleIdx="8" presStyleCnt="9" custScaleX="223214">
        <dgm:presLayoutVars>
          <dgm:chMax val="3"/>
          <dgm:chPref val="3"/>
          <dgm:bulletEnabled val="1"/>
        </dgm:presLayoutVars>
      </dgm:prSet>
      <dgm:spPr/>
    </dgm:pt>
    <dgm:pt modelId="{889B2197-A387-4D36-951E-FAF6F26FABF7}" type="pres">
      <dgm:prSet presAssocID="{9D91FF80-2F9B-46E3-9107-8F2B1598D33A}" presName="Accent" presStyleLbl="parChTrans1D1" presStyleIdx="8" presStyleCnt="9"/>
      <dgm:spPr>
        <a:xfrm>
          <a:off x="436793" y="3653372"/>
          <a:ext cx="5453838" cy="0"/>
        </a:xfrm>
        <a:prstGeom prst="line">
          <a:avLst/>
        </a:prstGeom>
        <a:noFill/>
        <a:ln w="9525" cap="flat" cmpd="sng" algn="ctr">
          <a:solidFill>
            <a:srgbClr val="0F3859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</dgm:pt>
  </dgm:ptLst>
  <dgm:cxnLst>
    <dgm:cxn modelId="{7774C80A-8CCE-46C5-89E5-843D01506888}" srcId="{D6A4DB0A-DD96-44FE-818F-16DE1A208A88}" destId="{EEF2DB26-02FF-4DFA-9070-A5F02371C86F}" srcOrd="0" destOrd="0" parTransId="{D4ABEC14-1F2B-48C7-A3A9-2AF014D65AC8}" sibTransId="{4FC96DDC-B987-4EA8-B8DC-B33ABDFED9FB}"/>
    <dgm:cxn modelId="{3D24E00C-E461-469B-A2C0-2A5B5F3358F2}" srcId="{18486976-23CD-46A3-921A-D3924E3A6380}" destId="{5BD5E905-23DE-4399-A278-5EEA1CC1E0CB}" srcOrd="1" destOrd="0" parTransId="{A132C8DF-8C18-4705-8C1A-72E4B51FF4BC}" sibTransId="{72DA57E1-5B0D-46BC-A2C1-97F0606B5921}"/>
    <dgm:cxn modelId="{45E0B20E-360F-4D98-8733-FDFD5FF3D130}" type="presOf" srcId="{194549C0-6F9D-4D27-832D-C2744EE80572}" destId="{64EAB587-9BD7-4CFD-A0F8-9F6E9481685A}" srcOrd="0" destOrd="0" presId="urn:microsoft.com/office/officeart/2011/layout/TabList"/>
    <dgm:cxn modelId="{D06F4C32-0440-4973-AA7B-65A8D9CD0F8A}" type="presOf" srcId="{87B91FD9-5E7A-4AC0-86C8-54C59ED39B00}" destId="{447DF322-532A-4B3E-8A67-BA98C969444E}" srcOrd="0" destOrd="0" presId="urn:microsoft.com/office/officeart/2011/layout/TabList"/>
    <dgm:cxn modelId="{7038D537-C0D4-4CE4-9F73-A6152FB954A9}" type="presOf" srcId="{4BE134C2-8B83-48AC-8D60-5095700756C7}" destId="{14E64A6B-2D77-469F-B7BB-077879857C9F}" srcOrd="0" destOrd="0" presId="urn:microsoft.com/office/officeart/2011/layout/TabList"/>
    <dgm:cxn modelId="{1E79E73A-BAA5-4347-9E92-F3E8A39D11BD}" srcId="{18486976-23CD-46A3-921A-D3924E3A6380}" destId="{586368A2-4EC8-4BDF-8855-7784A1F80D45}" srcOrd="5" destOrd="0" parTransId="{7B1466C3-7903-4DA7-9FBB-F4C4A85758D0}" sibTransId="{8EB3D886-95F8-4541-A7C2-AF89682EC61F}"/>
    <dgm:cxn modelId="{F5C9FD5B-891E-43C8-9107-E1FA542BD2DC}" type="presOf" srcId="{D6A4DB0A-DD96-44FE-818F-16DE1A208A88}" destId="{6083460A-0CB7-43B3-BC99-10A373FA006F}" srcOrd="0" destOrd="0" presId="urn:microsoft.com/office/officeart/2011/layout/TabList"/>
    <dgm:cxn modelId="{ACB59A41-1FEE-440B-8ADF-787E677B3A9F}" type="presOf" srcId="{138CD50C-9596-43C2-AB23-979786ACAE3B}" destId="{B90021ED-0034-4A1A-8D06-9FC20674A098}" srcOrd="0" destOrd="0" presId="urn:microsoft.com/office/officeart/2011/layout/TabList"/>
    <dgm:cxn modelId="{CAB2A861-BE33-46F4-8223-5F7A56304077}" srcId="{37B1C8EA-367C-453E-8278-37DA3A075C9E}" destId="{2F5651C9-548E-459D-BE87-1D3E846476E7}" srcOrd="0" destOrd="0" parTransId="{37EB7916-729F-4063-B4D0-041EECF85FAB}" sibTransId="{28ABCF4B-BC61-4B59-9CCF-EA4D45C3D7AB}"/>
    <dgm:cxn modelId="{2FC17845-35DE-4E6F-8010-EC96492807AA}" srcId="{75C57F16-71CA-467D-865A-10551A05A59F}" destId="{87D3351F-ECDD-41A8-9047-A38FB6DC1D82}" srcOrd="0" destOrd="0" parTransId="{A262407A-5878-43AD-9DDC-57670E0C9A57}" sibTransId="{98F30F49-4330-4587-8294-AABDE094905D}"/>
    <dgm:cxn modelId="{797AF447-56DD-4A31-8E50-7E81CCA10DDF}" type="presOf" srcId="{5BD5E905-23DE-4399-A278-5EEA1CC1E0CB}" destId="{F94506FA-B671-4165-9F05-6DA14FDA6AA0}" srcOrd="0" destOrd="0" presId="urn:microsoft.com/office/officeart/2011/layout/TabList"/>
    <dgm:cxn modelId="{7B11FA6B-AEFA-416C-8907-E04C67DC0B9A}" type="presOf" srcId="{8D682060-0CD9-42F2-AFC6-150AE16077FF}" destId="{1EB0ED7F-E7BE-491E-9C66-4DC2FBED6501}" srcOrd="0" destOrd="0" presId="urn:microsoft.com/office/officeart/2011/layout/TabList"/>
    <dgm:cxn modelId="{01B0256E-BDE7-4404-896E-544072203607}" type="presOf" srcId="{2F5651C9-548E-459D-BE87-1D3E846476E7}" destId="{02B16C45-0D9D-4C2D-9EA8-8C0F3569A1C4}" srcOrd="0" destOrd="0" presId="urn:microsoft.com/office/officeart/2011/layout/TabList"/>
    <dgm:cxn modelId="{4E547E70-1FAE-47DB-AD1F-42E4A16C687B}" srcId="{18486976-23CD-46A3-921A-D3924E3A6380}" destId="{9D91FF80-2F9B-46E3-9107-8F2B1598D33A}" srcOrd="8" destOrd="0" parTransId="{6EE34E06-7609-4D33-A3E3-9C47838C4344}" sibTransId="{C13C4D46-D9B1-4E1C-BD4E-76E9AA3973E1}"/>
    <dgm:cxn modelId="{AD483652-6D71-4D99-AC6E-65504554243A}" type="presOf" srcId="{27F8AB29-3BE5-42D6-9369-FD8BAB328063}" destId="{D6893497-CAB4-4BC5-915E-7BE52879406B}" srcOrd="0" destOrd="0" presId="urn:microsoft.com/office/officeart/2011/layout/TabList"/>
    <dgm:cxn modelId="{26186258-73A1-494B-85C3-7B58971F9BA6}" srcId="{586368A2-4EC8-4BDF-8855-7784A1F80D45}" destId="{87B91FD9-5E7A-4AC0-86C8-54C59ED39B00}" srcOrd="0" destOrd="0" parTransId="{8600C4C5-E0E7-41E6-9A79-94C3C11D4963}" sibTransId="{EC96343E-F2B1-4AE9-9C15-6ECB13FA5719}"/>
    <dgm:cxn modelId="{D451A186-58A0-42B7-A93C-8F51B760D6C6}" type="presOf" srcId="{EEF2DB26-02FF-4DFA-9070-A5F02371C86F}" destId="{D21D972E-8C02-4A13-9B75-9277A5556067}" srcOrd="0" destOrd="0" presId="urn:microsoft.com/office/officeart/2011/layout/TabList"/>
    <dgm:cxn modelId="{609A7888-A0ED-47CC-BFC0-45E31F3AC851}" type="presOf" srcId="{B264B1BD-0876-420C-B876-E9C66E9C9825}" destId="{D1E9B6C2-3809-4E79-8AB8-492295819A92}" srcOrd="0" destOrd="0" presId="urn:microsoft.com/office/officeart/2011/layout/TabList"/>
    <dgm:cxn modelId="{C3633890-0C83-4334-8071-0241663EB833}" srcId="{8D682060-0CD9-42F2-AFC6-150AE16077FF}" destId="{27F8AB29-3BE5-42D6-9369-FD8BAB328063}" srcOrd="0" destOrd="0" parTransId="{788DD5CE-8DD2-4EAC-A5CA-9238FEAF5592}" sibTransId="{1B21FEE3-33F3-4089-962B-7D3960554E5B}"/>
    <dgm:cxn modelId="{DEBE1095-86F9-45AB-B868-23B8433F8C16}" type="presOf" srcId="{75C57F16-71CA-467D-865A-10551A05A59F}" destId="{6D0C9CB6-4260-4DC2-A232-1D89C8FD90D1}" srcOrd="0" destOrd="0" presId="urn:microsoft.com/office/officeart/2011/layout/TabList"/>
    <dgm:cxn modelId="{EBB55C95-20D5-405D-B290-E3DE09D514FA}" srcId="{18486976-23CD-46A3-921A-D3924E3A6380}" destId="{4BE134C2-8B83-48AC-8D60-5095700756C7}" srcOrd="6" destOrd="0" parTransId="{40447C8C-A931-49C8-A439-4D7DFEA56326}" sibTransId="{8F044F4B-5664-46A6-B15A-3D8E69FB9CE2}"/>
    <dgm:cxn modelId="{8089FA9F-D852-435B-8211-B4E5CFE2A8DB}" type="presOf" srcId="{9F75F781-62C8-4907-8BC4-C8C2C7AA7A36}" destId="{E6553C32-F345-4873-B274-4992EBC40F9F}" srcOrd="0" destOrd="0" presId="urn:microsoft.com/office/officeart/2011/layout/TabList"/>
    <dgm:cxn modelId="{C2E811A4-06BE-40C7-B5FA-99848E5F2E9E}" srcId="{18486976-23CD-46A3-921A-D3924E3A6380}" destId="{8D682060-0CD9-42F2-AFC6-150AE16077FF}" srcOrd="2" destOrd="0" parTransId="{050A2EC5-83DE-4334-AF8B-D84B5CC3970E}" sibTransId="{C50C187F-49A0-40B7-986A-FCF0EB2DCC65}"/>
    <dgm:cxn modelId="{43E3C6A4-1520-4978-9305-714746AD897D}" srcId="{18486976-23CD-46A3-921A-D3924E3A6380}" destId="{D6A4DB0A-DD96-44FE-818F-16DE1A208A88}" srcOrd="0" destOrd="0" parTransId="{34C1099F-C1F5-46D1-86A8-9C147F71ADFD}" sibTransId="{F63A8CE5-2B6A-4638-A7BA-0876DA15207A}"/>
    <dgm:cxn modelId="{A40EF6B5-6538-4C33-A058-8A24DE7B6708}" srcId="{4BE134C2-8B83-48AC-8D60-5095700756C7}" destId="{B264B1BD-0876-420C-B876-E9C66E9C9825}" srcOrd="0" destOrd="0" parTransId="{7D6D358E-09E6-42EF-9CD7-42818429B90D}" sibTransId="{702A9CDA-1DC5-4394-9C74-950A065E2D64}"/>
    <dgm:cxn modelId="{208BAFB6-6CF4-4F30-BA11-13D94C7CF5C1}" type="presOf" srcId="{586368A2-4EC8-4BDF-8855-7784A1F80D45}" destId="{A852BDAD-B6B8-4418-879A-1088E774B707}" srcOrd="0" destOrd="0" presId="urn:microsoft.com/office/officeart/2011/layout/TabList"/>
    <dgm:cxn modelId="{C46873C2-F6D5-4840-8F08-8D2E2A84EA98}" srcId="{18486976-23CD-46A3-921A-D3924E3A6380}" destId="{194549C0-6F9D-4D27-832D-C2744EE80572}" srcOrd="7" destOrd="0" parTransId="{ED47F7F0-0B23-49C3-BA1F-A7A284832054}" sibTransId="{F5878483-EC0D-4C1A-A4C9-B39DE70EC18A}"/>
    <dgm:cxn modelId="{EC9F98DF-99B9-4148-B4CC-E829A2F2F565}" type="presOf" srcId="{18486976-23CD-46A3-921A-D3924E3A6380}" destId="{426AE914-E457-4A05-BF15-502C457524AC}" srcOrd="0" destOrd="0" presId="urn:microsoft.com/office/officeart/2011/layout/TabList"/>
    <dgm:cxn modelId="{11963FE2-DCC8-4503-BEA6-A034A060366F}" srcId="{194549C0-6F9D-4D27-832D-C2744EE80572}" destId="{9F75F781-62C8-4907-8BC4-C8C2C7AA7A36}" srcOrd="0" destOrd="0" parTransId="{3F97A8A7-5F8D-4496-8FD1-114407C7AE82}" sibTransId="{D33C9FAB-1517-4321-AF79-E72308BD10CE}"/>
    <dgm:cxn modelId="{EFEA9EE2-13CC-48F8-A7B6-FA27DFDD0A5A}" srcId="{5BD5E905-23DE-4399-A278-5EEA1CC1E0CB}" destId="{138CD50C-9596-43C2-AB23-979786ACAE3B}" srcOrd="0" destOrd="0" parTransId="{B9083CD9-D442-4E1D-A6CA-2FA0D4C15AC1}" sibTransId="{3A78C776-A8E8-4DDD-A7F7-84D5E30F2F52}"/>
    <dgm:cxn modelId="{4F1CB7E6-416D-4A26-9C45-BF94EC4FF5E2}" srcId="{18486976-23CD-46A3-921A-D3924E3A6380}" destId="{75C57F16-71CA-467D-865A-10551A05A59F}" srcOrd="3" destOrd="0" parTransId="{21B3A410-BC1D-4742-914C-AFF5BCD45116}" sibTransId="{6D45FE5C-76BF-4087-8539-491ECFD55754}"/>
    <dgm:cxn modelId="{70DCB8F1-80DA-420F-AA6C-789BD708AA47}" type="presOf" srcId="{87D3351F-ECDD-41A8-9047-A38FB6DC1D82}" destId="{6399AE0B-03A2-4B7A-A624-3661F398BBC9}" srcOrd="0" destOrd="0" presId="urn:microsoft.com/office/officeart/2011/layout/TabList"/>
    <dgm:cxn modelId="{96D6ABF4-73CB-4B72-BAA1-5BD9697C4C50}" srcId="{18486976-23CD-46A3-921A-D3924E3A6380}" destId="{37B1C8EA-367C-453E-8278-37DA3A075C9E}" srcOrd="4" destOrd="0" parTransId="{D83E2BF1-F823-4762-BA9F-FF83FF9B9F1E}" sibTransId="{094BFBF1-3937-41AD-9F2A-CC4C13AC78E1}"/>
    <dgm:cxn modelId="{45F716F5-487D-4435-8B73-1A107C0EE88F}" type="presOf" srcId="{37B1C8EA-367C-453E-8278-37DA3A075C9E}" destId="{40F44694-3584-418B-84F8-85D8AC37903B}" srcOrd="0" destOrd="0" presId="urn:microsoft.com/office/officeart/2011/layout/TabList"/>
    <dgm:cxn modelId="{AE8A31F6-F309-40A6-9D7B-7AEA38A90327}" type="presOf" srcId="{9D91FF80-2F9B-46E3-9107-8F2B1598D33A}" destId="{1618A078-3330-48BE-88DF-DB5D10E2EBBB}" srcOrd="0" destOrd="0" presId="urn:microsoft.com/office/officeart/2011/layout/TabList"/>
    <dgm:cxn modelId="{3F2D9882-831C-4956-882A-159F3E9CBDAB}" type="presParOf" srcId="{426AE914-E457-4A05-BF15-502C457524AC}" destId="{BCEB2487-AB78-4E64-9D3F-B8A6C546C5AB}" srcOrd="0" destOrd="0" presId="urn:microsoft.com/office/officeart/2011/layout/TabList"/>
    <dgm:cxn modelId="{4EAA4475-E679-462D-A1A8-688B59D6F104}" type="presParOf" srcId="{BCEB2487-AB78-4E64-9D3F-B8A6C546C5AB}" destId="{D21D972E-8C02-4A13-9B75-9277A5556067}" srcOrd="0" destOrd="0" presId="urn:microsoft.com/office/officeart/2011/layout/TabList"/>
    <dgm:cxn modelId="{223D2DFF-D53D-4C01-834C-80A29874838C}" type="presParOf" srcId="{BCEB2487-AB78-4E64-9D3F-B8A6C546C5AB}" destId="{6083460A-0CB7-43B3-BC99-10A373FA006F}" srcOrd="1" destOrd="0" presId="urn:microsoft.com/office/officeart/2011/layout/TabList"/>
    <dgm:cxn modelId="{8C116B36-8E42-40DC-A397-D9C48C595F73}" type="presParOf" srcId="{BCEB2487-AB78-4E64-9D3F-B8A6C546C5AB}" destId="{8E973344-4DC1-49E9-9788-5FECD467D9D1}" srcOrd="2" destOrd="0" presId="urn:microsoft.com/office/officeart/2011/layout/TabList"/>
    <dgm:cxn modelId="{C1118289-2A3A-48DC-9234-569B482BBB85}" type="presParOf" srcId="{426AE914-E457-4A05-BF15-502C457524AC}" destId="{E26F4384-5B93-448D-B0AF-85770FE58070}" srcOrd="1" destOrd="0" presId="urn:microsoft.com/office/officeart/2011/layout/TabList"/>
    <dgm:cxn modelId="{1413F4B4-165C-4B22-AAF4-38A737B8CD7D}" type="presParOf" srcId="{426AE914-E457-4A05-BF15-502C457524AC}" destId="{331D4CB3-A234-4BFA-87BD-AFF90CF395FF}" srcOrd="2" destOrd="0" presId="urn:microsoft.com/office/officeart/2011/layout/TabList"/>
    <dgm:cxn modelId="{24588741-4ABF-4B32-AB95-3D728D53DC4E}" type="presParOf" srcId="{331D4CB3-A234-4BFA-87BD-AFF90CF395FF}" destId="{B90021ED-0034-4A1A-8D06-9FC20674A098}" srcOrd="0" destOrd="0" presId="urn:microsoft.com/office/officeart/2011/layout/TabList"/>
    <dgm:cxn modelId="{A772B43E-37DC-48FD-8ACC-59A2DB06CC7D}" type="presParOf" srcId="{331D4CB3-A234-4BFA-87BD-AFF90CF395FF}" destId="{F94506FA-B671-4165-9F05-6DA14FDA6AA0}" srcOrd="1" destOrd="0" presId="urn:microsoft.com/office/officeart/2011/layout/TabList"/>
    <dgm:cxn modelId="{A57FA696-A7A1-4DF3-B011-7E2FCF250CB4}" type="presParOf" srcId="{331D4CB3-A234-4BFA-87BD-AFF90CF395FF}" destId="{BE51DB2B-6E63-4598-94AA-4D5AE7392D45}" srcOrd="2" destOrd="0" presId="urn:microsoft.com/office/officeart/2011/layout/TabList"/>
    <dgm:cxn modelId="{60FEA107-EF43-4D53-A810-D941759F6220}" type="presParOf" srcId="{426AE914-E457-4A05-BF15-502C457524AC}" destId="{6AF6139C-68CC-494A-80BE-7392F7B8CC7D}" srcOrd="3" destOrd="0" presId="urn:microsoft.com/office/officeart/2011/layout/TabList"/>
    <dgm:cxn modelId="{C0A9D7CD-E4B5-4AF7-918D-20ADAA2DCDBA}" type="presParOf" srcId="{426AE914-E457-4A05-BF15-502C457524AC}" destId="{87873187-C710-4E4D-8DE8-B124FF35E11C}" srcOrd="4" destOrd="0" presId="urn:microsoft.com/office/officeart/2011/layout/TabList"/>
    <dgm:cxn modelId="{A0FF0B93-019E-40D2-A63F-FBEF73645C37}" type="presParOf" srcId="{87873187-C710-4E4D-8DE8-B124FF35E11C}" destId="{D6893497-CAB4-4BC5-915E-7BE52879406B}" srcOrd="0" destOrd="0" presId="urn:microsoft.com/office/officeart/2011/layout/TabList"/>
    <dgm:cxn modelId="{3077998A-049D-4D5B-8E49-85160732D4D4}" type="presParOf" srcId="{87873187-C710-4E4D-8DE8-B124FF35E11C}" destId="{1EB0ED7F-E7BE-491E-9C66-4DC2FBED6501}" srcOrd="1" destOrd="0" presId="urn:microsoft.com/office/officeart/2011/layout/TabList"/>
    <dgm:cxn modelId="{8C7FE5A6-8233-46CE-AF5F-7C55B8AF93D6}" type="presParOf" srcId="{87873187-C710-4E4D-8DE8-B124FF35E11C}" destId="{1E6B096B-370E-4AF9-BC05-7077BBADE693}" srcOrd="2" destOrd="0" presId="urn:microsoft.com/office/officeart/2011/layout/TabList"/>
    <dgm:cxn modelId="{F326F657-727C-4F51-97A5-53B0E997608C}" type="presParOf" srcId="{426AE914-E457-4A05-BF15-502C457524AC}" destId="{CFC4B7DB-70AE-4E6E-8D2A-C2235B4843D9}" srcOrd="5" destOrd="0" presId="urn:microsoft.com/office/officeart/2011/layout/TabList"/>
    <dgm:cxn modelId="{5E0A6C05-52C0-4A4F-95FF-AC89484048CC}" type="presParOf" srcId="{426AE914-E457-4A05-BF15-502C457524AC}" destId="{87F5211A-1CD3-4442-BE6B-7BA05EE7FC76}" srcOrd="6" destOrd="0" presId="urn:microsoft.com/office/officeart/2011/layout/TabList"/>
    <dgm:cxn modelId="{7B0C1E1C-C7E1-488B-ADFC-242DA3F0D4A4}" type="presParOf" srcId="{87F5211A-1CD3-4442-BE6B-7BA05EE7FC76}" destId="{6399AE0B-03A2-4B7A-A624-3661F398BBC9}" srcOrd="0" destOrd="0" presId="urn:microsoft.com/office/officeart/2011/layout/TabList"/>
    <dgm:cxn modelId="{5720D53B-A887-4EB9-A55D-9F8E636B332D}" type="presParOf" srcId="{87F5211A-1CD3-4442-BE6B-7BA05EE7FC76}" destId="{6D0C9CB6-4260-4DC2-A232-1D89C8FD90D1}" srcOrd="1" destOrd="0" presId="urn:microsoft.com/office/officeart/2011/layout/TabList"/>
    <dgm:cxn modelId="{153B264D-C3B0-4FB5-A113-E62318302A5C}" type="presParOf" srcId="{87F5211A-1CD3-4442-BE6B-7BA05EE7FC76}" destId="{6E1997FA-DC64-4848-B75D-187D5A1A9E86}" srcOrd="2" destOrd="0" presId="urn:microsoft.com/office/officeart/2011/layout/TabList"/>
    <dgm:cxn modelId="{C4C85BA3-7A5F-4624-9F07-A59656A21078}" type="presParOf" srcId="{426AE914-E457-4A05-BF15-502C457524AC}" destId="{ED9D67D6-3AB7-4286-896D-80BBDF96E9B1}" srcOrd="7" destOrd="0" presId="urn:microsoft.com/office/officeart/2011/layout/TabList"/>
    <dgm:cxn modelId="{DBA74491-B692-4915-8CBF-2290A08E301A}" type="presParOf" srcId="{426AE914-E457-4A05-BF15-502C457524AC}" destId="{F5D6B991-E8A1-4575-A9D1-30BD887416F1}" srcOrd="8" destOrd="0" presId="urn:microsoft.com/office/officeart/2011/layout/TabList"/>
    <dgm:cxn modelId="{6BD620D8-7121-431D-A4F1-5C88318631F3}" type="presParOf" srcId="{F5D6B991-E8A1-4575-A9D1-30BD887416F1}" destId="{02B16C45-0D9D-4C2D-9EA8-8C0F3569A1C4}" srcOrd="0" destOrd="0" presId="urn:microsoft.com/office/officeart/2011/layout/TabList"/>
    <dgm:cxn modelId="{11F12839-3487-465F-B189-B097026F635A}" type="presParOf" srcId="{F5D6B991-E8A1-4575-A9D1-30BD887416F1}" destId="{40F44694-3584-418B-84F8-85D8AC37903B}" srcOrd="1" destOrd="0" presId="urn:microsoft.com/office/officeart/2011/layout/TabList"/>
    <dgm:cxn modelId="{70611D72-797F-4E61-907B-1207C5F8C6BF}" type="presParOf" srcId="{F5D6B991-E8A1-4575-A9D1-30BD887416F1}" destId="{211367D3-A568-4BBA-A0C6-03307052D445}" srcOrd="2" destOrd="0" presId="urn:microsoft.com/office/officeart/2011/layout/TabList"/>
    <dgm:cxn modelId="{69F3FCBB-D16D-44B5-9DAA-936AB2B028EE}" type="presParOf" srcId="{426AE914-E457-4A05-BF15-502C457524AC}" destId="{DCFDEA7A-BB43-46BF-8E34-5F788558BA7F}" srcOrd="9" destOrd="0" presId="urn:microsoft.com/office/officeart/2011/layout/TabList"/>
    <dgm:cxn modelId="{800EF81B-A8D8-4127-B02B-696F2F5B6B98}" type="presParOf" srcId="{426AE914-E457-4A05-BF15-502C457524AC}" destId="{33113412-81F5-43AE-AA0D-8C1439DDCA93}" srcOrd="10" destOrd="0" presId="urn:microsoft.com/office/officeart/2011/layout/TabList"/>
    <dgm:cxn modelId="{FFB32E45-401D-457C-85AF-BA6DAFF7724D}" type="presParOf" srcId="{33113412-81F5-43AE-AA0D-8C1439DDCA93}" destId="{447DF322-532A-4B3E-8A67-BA98C969444E}" srcOrd="0" destOrd="0" presId="urn:microsoft.com/office/officeart/2011/layout/TabList"/>
    <dgm:cxn modelId="{5D347F40-2159-4798-84BA-E0BFF5BFFB01}" type="presParOf" srcId="{33113412-81F5-43AE-AA0D-8C1439DDCA93}" destId="{A852BDAD-B6B8-4418-879A-1088E774B707}" srcOrd="1" destOrd="0" presId="urn:microsoft.com/office/officeart/2011/layout/TabList"/>
    <dgm:cxn modelId="{32E823DF-1563-4050-AAE5-F555BD5D1B12}" type="presParOf" srcId="{33113412-81F5-43AE-AA0D-8C1439DDCA93}" destId="{5D309975-C661-4731-A07E-4105163FB3F2}" srcOrd="2" destOrd="0" presId="urn:microsoft.com/office/officeart/2011/layout/TabList"/>
    <dgm:cxn modelId="{90AE6ACF-0330-43C7-BC0E-BED05EC1053C}" type="presParOf" srcId="{426AE914-E457-4A05-BF15-502C457524AC}" destId="{79121682-1986-41FD-8924-50B6DB61D9D8}" srcOrd="11" destOrd="0" presId="urn:microsoft.com/office/officeart/2011/layout/TabList"/>
    <dgm:cxn modelId="{A2A2C83A-F2F4-4DF7-A5BA-173FC7CEE017}" type="presParOf" srcId="{426AE914-E457-4A05-BF15-502C457524AC}" destId="{F7632A39-1BB3-4E5D-A64B-99F03E914A00}" srcOrd="12" destOrd="0" presId="urn:microsoft.com/office/officeart/2011/layout/TabList"/>
    <dgm:cxn modelId="{17232551-6258-4ED0-8B79-FC043172E4AC}" type="presParOf" srcId="{F7632A39-1BB3-4E5D-A64B-99F03E914A00}" destId="{D1E9B6C2-3809-4E79-8AB8-492295819A92}" srcOrd="0" destOrd="0" presId="urn:microsoft.com/office/officeart/2011/layout/TabList"/>
    <dgm:cxn modelId="{38B0C42C-C43F-4C1D-8998-087DDDBCBDA7}" type="presParOf" srcId="{F7632A39-1BB3-4E5D-A64B-99F03E914A00}" destId="{14E64A6B-2D77-469F-B7BB-077879857C9F}" srcOrd="1" destOrd="0" presId="urn:microsoft.com/office/officeart/2011/layout/TabList"/>
    <dgm:cxn modelId="{91CFB149-68C8-43A3-A702-2114091C51E2}" type="presParOf" srcId="{F7632A39-1BB3-4E5D-A64B-99F03E914A00}" destId="{BFEC6A4D-E13A-4EE1-A6C4-D51CD5C029CE}" srcOrd="2" destOrd="0" presId="urn:microsoft.com/office/officeart/2011/layout/TabList"/>
    <dgm:cxn modelId="{61449CCA-FD56-4EB1-BF45-C5D292B0C244}" type="presParOf" srcId="{426AE914-E457-4A05-BF15-502C457524AC}" destId="{94EEF9B8-F9FA-46D3-A0E3-DB2D79DE631F}" srcOrd="13" destOrd="0" presId="urn:microsoft.com/office/officeart/2011/layout/TabList"/>
    <dgm:cxn modelId="{6CADA470-0CF9-48D3-ACFE-3B6802B54F7C}" type="presParOf" srcId="{426AE914-E457-4A05-BF15-502C457524AC}" destId="{73EE2418-B1F1-4C71-B95B-56E2466C6EB0}" srcOrd="14" destOrd="0" presId="urn:microsoft.com/office/officeart/2011/layout/TabList"/>
    <dgm:cxn modelId="{485788A2-E3A3-494E-9D57-9EDAC1E87C38}" type="presParOf" srcId="{73EE2418-B1F1-4C71-B95B-56E2466C6EB0}" destId="{E6553C32-F345-4873-B274-4992EBC40F9F}" srcOrd="0" destOrd="0" presId="urn:microsoft.com/office/officeart/2011/layout/TabList"/>
    <dgm:cxn modelId="{983D42C8-9FA7-42E0-92A7-F88972E82AAC}" type="presParOf" srcId="{73EE2418-B1F1-4C71-B95B-56E2466C6EB0}" destId="{64EAB587-9BD7-4CFD-A0F8-9F6E9481685A}" srcOrd="1" destOrd="0" presId="urn:microsoft.com/office/officeart/2011/layout/TabList"/>
    <dgm:cxn modelId="{86B6EB93-F1A4-46A8-9D1B-D667DD274E18}" type="presParOf" srcId="{73EE2418-B1F1-4C71-B95B-56E2466C6EB0}" destId="{40DD08FD-AAB9-4760-AC24-4516FB2D0D46}" srcOrd="2" destOrd="0" presId="urn:microsoft.com/office/officeart/2011/layout/TabList"/>
    <dgm:cxn modelId="{A58A3486-8B0B-4C7E-AD99-6D36FF1248F8}" type="presParOf" srcId="{426AE914-E457-4A05-BF15-502C457524AC}" destId="{10C0C423-58BB-41F8-8956-7488BF12C93D}" srcOrd="15" destOrd="0" presId="urn:microsoft.com/office/officeart/2011/layout/TabList"/>
    <dgm:cxn modelId="{A40CD1FA-A009-47B6-97BA-788C7A677056}" type="presParOf" srcId="{426AE914-E457-4A05-BF15-502C457524AC}" destId="{D03E98EC-E392-4DD8-8C5A-DD9F39C9543E}" srcOrd="16" destOrd="0" presId="urn:microsoft.com/office/officeart/2011/layout/TabList"/>
    <dgm:cxn modelId="{C0E40992-2238-4B4B-963E-4A9A485514F9}" type="presParOf" srcId="{D03E98EC-E392-4DD8-8C5A-DD9F39C9543E}" destId="{F4A6F602-B49E-4C01-A123-8450F84008E2}" srcOrd="0" destOrd="0" presId="urn:microsoft.com/office/officeart/2011/layout/TabList"/>
    <dgm:cxn modelId="{B0134F5F-0A3F-463E-92B5-5FDE935444ED}" type="presParOf" srcId="{D03E98EC-E392-4DD8-8C5A-DD9F39C9543E}" destId="{1618A078-3330-48BE-88DF-DB5D10E2EBBB}" srcOrd="1" destOrd="0" presId="urn:microsoft.com/office/officeart/2011/layout/TabList"/>
    <dgm:cxn modelId="{AF2EB442-283F-4779-B769-F05BBEC10BE8}" type="presParOf" srcId="{D03E98EC-E392-4DD8-8C5A-DD9F39C9543E}" destId="{889B2197-A387-4D36-951E-FAF6F26FABF7}" srcOrd="2" destOrd="0" presId="urn:microsoft.com/office/officeart/2011/layout/Tab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E22B9992-E865-42EC-8364-1F7A60B2EBF4}" type="doc">
      <dgm:prSet loTypeId="urn:microsoft.com/office/officeart/2005/8/layout/hList6" loCatId="list" qsTypeId="urn:microsoft.com/office/officeart/2005/8/quickstyle/simple4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75B08E91-9030-471F-97BA-68DCFF19A5D6}">
      <dgm:prSet/>
      <dgm:spPr>
        <a:effectLst>
          <a:outerShdw blurRad="50800" dist="38100" algn="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en-US" dirty="0"/>
            <a:t>Be aware that a Q&amp;A document might be posted and if needed an addendum </a:t>
          </a:r>
        </a:p>
      </dgm:t>
    </dgm:pt>
    <dgm:pt modelId="{3DC52DDC-A084-4634-99E4-0F1905B9C618}" type="parTrans" cxnId="{0B3EB70C-D642-4DE2-AD7E-4DAB1D351F5D}">
      <dgm:prSet/>
      <dgm:spPr/>
      <dgm:t>
        <a:bodyPr/>
        <a:lstStyle/>
        <a:p>
          <a:endParaRPr lang="en-US"/>
        </a:p>
      </dgm:t>
    </dgm:pt>
    <dgm:pt modelId="{90A07FBB-664B-4590-A32D-3533757FABD8}" type="sibTrans" cxnId="{0B3EB70C-D642-4DE2-AD7E-4DAB1D351F5D}">
      <dgm:prSet/>
      <dgm:spPr/>
      <dgm:t>
        <a:bodyPr/>
        <a:lstStyle/>
        <a:p>
          <a:endParaRPr lang="en-US"/>
        </a:p>
      </dgm:t>
    </dgm:pt>
    <dgm:pt modelId="{F9F287EF-4B2E-4F20-B8A3-C68BD29774BA}">
      <dgm:prSet/>
      <dgm:spPr>
        <a:effectLst>
          <a:outerShdw blurRad="50800" dist="38100" algn="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en-US" dirty="0"/>
            <a:t>Keep current on updates for Fiscal Year 2027 Projected Contract Lists on the TxDOT PEPS website</a:t>
          </a:r>
        </a:p>
        <a:p>
          <a:pPr rtl="0"/>
          <a:r>
            <a:rPr lang="en-US" dirty="0">
              <a:solidFill>
                <a:srgbClr val="FFFF00"/>
              </a:solidFill>
              <a:hlinkClick xmlns:r="http://schemas.openxmlformats.org/officeDocument/2006/relationships" r:id="rId1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Business opportunities</a:t>
          </a:r>
          <a:endParaRPr lang="en-US" dirty="0">
            <a:solidFill>
              <a:srgbClr val="FFFF00"/>
            </a:solidFill>
          </a:endParaRPr>
        </a:p>
      </dgm:t>
    </dgm:pt>
    <dgm:pt modelId="{D1C675FC-E7A7-48C8-9CC3-417F2651CA7D}" type="sibTrans" cxnId="{DF1EC509-0564-4483-972D-A370C6892008}">
      <dgm:prSet/>
      <dgm:spPr/>
      <dgm:t>
        <a:bodyPr/>
        <a:lstStyle/>
        <a:p>
          <a:endParaRPr lang="en-US"/>
        </a:p>
      </dgm:t>
    </dgm:pt>
    <dgm:pt modelId="{B3586BC4-F386-42B2-909E-E8474E9F4B14}" type="parTrans" cxnId="{DF1EC509-0564-4483-972D-A370C6892008}">
      <dgm:prSet/>
      <dgm:spPr/>
      <dgm:t>
        <a:bodyPr/>
        <a:lstStyle/>
        <a:p>
          <a:endParaRPr lang="en-US"/>
        </a:p>
      </dgm:t>
    </dgm:pt>
    <dgm:pt modelId="{74FA6716-0829-4450-BC8C-7321EEBA38FD}">
      <dgm:prSet/>
      <dgm:spPr>
        <a:effectLst>
          <a:outerShdw blurRad="50800" dist="38100" algn="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en-US" dirty="0"/>
            <a:t>Take advantage of PEPS Fireside Chats</a:t>
          </a:r>
        </a:p>
        <a:p>
          <a:pPr rtl="0"/>
          <a:r>
            <a:rPr lang="en-US" dirty="0">
              <a:solidFill>
                <a:srgbClr val="FFFF00"/>
              </a:solidFill>
              <a:hlinkClick xmlns:r="http://schemas.openxmlformats.org/officeDocument/2006/relationships" r:id="rId2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Training and events (txdot.gov)</a:t>
          </a:r>
          <a:endParaRPr lang="en-US" dirty="0">
            <a:solidFill>
              <a:srgbClr val="FFFF00"/>
            </a:solidFill>
          </a:endParaRPr>
        </a:p>
      </dgm:t>
    </dgm:pt>
    <dgm:pt modelId="{E4732982-319F-491C-A90C-5B92D1E0044B}" type="parTrans" cxnId="{72DA28A6-BD39-4AE6-84D0-A38EE6FC78FC}">
      <dgm:prSet/>
      <dgm:spPr/>
      <dgm:t>
        <a:bodyPr/>
        <a:lstStyle/>
        <a:p>
          <a:endParaRPr lang="en-US"/>
        </a:p>
      </dgm:t>
    </dgm:pt>
    <dgm:pt modelId="{F032B025-E550-4AA0-9E5E-FDB0CE3EBFB6}" type="sibTrans" cxnId="{72DA28A6-BD39-4AE6-84D0-A38EE6FC78FC}">
      <dgm:prSet/>
      <dgm:spPr/>
      <dgm:t>
        <a:bodyPr/>
        <a:lstStyle/>
        <a:p>
          <a:endParaRPr lang="en-US"/>
        </a:p>
      </dgm:t>
    </dgm:pt>
    <dgm:pt modelId="{E2C7E450-579E-4C04-ABEA-0E3C9195E822}">
      <dgm:prSet/>
      <dgm:spPr>
        <a:effectLst>
          <a:outerShdw blurRad="50800" dist="38100" algn="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en-US" dirty="0"/>
            <a:t>Review the updated Euna Frequently Asked Questions</a:t>
          </a:r>
        </a:p>
        <a:p>
          <a:pPr rtl="0"/>
          <a:r>
            <a:rPr lang="en-US" dirty="0">
              <a:solidFill>
                <a:srgbClr val="FFFF00"/>
              </a:solidFill>
              <a:hlinkClick xmlns:r="http://schemas.openxmlformats.org/officeDocument/2006/relationships" r:id="rId3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Frequently Asked Questions (FAQs) For Vendors Using Bonfire (txdot.gov)</a:t>
          </a:r>
          <a:endParaRPr lang="en-US" dirty="0">
            <a:solidFill>
              <a:srgbClr val="FFFF00"/>
            </a:solidFill>
          </a:endParaRPr>
        </a:p>
      </dgm:t>
    </dgm:pt>
    <dgm:pt modelId="{5315AD68-6ADD-4F9E-AA24-E9C77B314561}" type="parTrans" cxnId="{00F6637D-5FF0-4971-B3E7-CB5D36978003}">
      <dgm:prSet/>
      <dgm:spPr/>
      <dgm:t>
        <a:bodyPr/>
        <a:lstStyle/>
        <a:p>
          <a:endParaRPr lang="en-US"/>
        </a:p>
      </dgm:t>
    </dgm:pt>
    <dgm:pt modelId="{F1139C98-C4CB-445A-8338-A17F3A791E1B}" type="sibTrans" cxnId="{00F6637D-5FF0-4971-B3E7-CB5D36978003}">
      <dgm:prSet/>
      <dgm:spPr/>
      <dgm:t>
        <a:bodyPr/>
        <a:lstStyle/>
        <a:p>
          <a:endParaRPr lang="en-US"/>
        </a:p>
      </dgm:t>
    </dgm:pt>
    <dgm:pt modelId="{E6768BCE-4642-47BC-9CE3-080E3FE8DEDE}" type="pres">
      <dgm:prSet presAssocID="{E22B9992-E865-42EC-8364-1F7A60B2EBF4}" presName="Name0" presStyleCnt="0">
        <dgm:presLayoutVars>
          <dgm:dir/>
          <dgm:resizeHandles val="exact"/>
        </dgm:presLayoutVars>
      </dgm:prSet>
      <dgm:spPr/>
    </dgm:pt>
    <dgm:pt modelId="{804998AA-9370-4DA8-932D-462AE9B88D67}" type="pres">
      <dgm:prSet presAssocID="{75B08E91-9030-471F-97BA-68DCFF19A5D6}" presName="node" presStyleLbl="node1" presStyleIdx="0" presStyleCnt="4">
        <dgm:presLayoutVars>
          <dgm:bulletEnabled val="1"/>
        </dgm:presLayoutVars>
      </dgm:prSet>
      <dgm:spPr/>
    </dgm:pt>
    <dgm:pt modelId="{71EE68D1-2946-4D83-8544-6C3333BFDA91}" type="pres">
      <dgm:prSet presAssocID="{90A07FBB-664B-4590-A32D-3533757FABD8}" presName="sibTrans" presStyleCnt="0"/>
      <dgm:spPr/>
    </dgm:pt>
    <dgm:pt modelId="{43CEC55B-3587-4A98-B54B-48907F4B27F2}" type="pres">
      <dgm:prSet presAssocID="{F9F287EF-4B2E-4F20-B8A3-C68BD29774BA}" presName="node" presStyleLbl="node1" presStyleIdx="1" presStyleCnt="4">
        <dgm:presLayoutVars>
          <dgm:bulletEnabled val="1"/>
        </dgm:presLayoutVars>
      </dgm:prSet>
      <dgm:spPr/>
    </dgm:pt>
    <dgm:pt modelId="{ED3BEBC4-CE75-4AEE-B381-7C256E46861F}" type="pres">
      <dgm:prSet presAssocID="{D1C675FC-E7A7-48C8-9CC3-417F2651CA7D}" presName="sibTrans" presStyleCnt="0"/>
      <dgm:spPr/>
    </dgm:pt>
    <dgm:pt modelId="{427D0D2D-3DE5-4063-B9AF-DC18FAB8E5FE}" type="pres">
      <dgm:prSet presAssocID="{E2C7E450-579E-4C04-ABEA-0E3C9195E822}" presName="node" presStyleLbl="node1" presStyleIdx="2" presStyleCnt="4">
        <dgm:presLayoutVars>
          <dgm:bulletEnabled val="1"/>
        </dgm:presLayoutVars>
      </dgm:prSet>
      <dgm:spPr/>
    </dgm:pt>
    <dgm:pt modelId="{3544EF16-9238-4A23-B4A7-63A428DC7C62}" type="pres">
      <dgm:prSet presAssocID="{F1139C98-C4CB-445A-8338-A17F3A791E1B}" presName="sibTrans" presStyleCnt="0"/>
      <dgm:spPr/>
    </dgm:pt>
    <dgm:pt modelId="{0629F4F0-AE75-4EAD-B852-B173D0B4F8E8}" type="pres">
      <dgm:prSet presAssocID="{74FA6716-0829-4450-BC8C-7321EEBA38FD}" presName="node" presStyleLbl="node1" presStyleIdx="3" presStyleCnt="4">
        <dgm:presLayoutVars>
          <dgm:bulletEnabled val="1"/>
        </dgm:presLayoutVars>
      </dgm:prSet>
      <dgm:spPr/>
    </dgm:pt>
  </dgm:ptLst>
  <dgm:cxnLst>
    <dgm:cxn modelId="{DF1EC509-0564-4483-972D-A370C6892008}" srcId="{E22B9992-E865-42EC-8364-1F7A60B2EBF4}" destId="{F9F287EF-4B2E-4F20-B8A3-C68BD29774BA}" srcOrd="1" destOrd="0" parTransId="{B3586BC4-F386-42B2-909E-E8474E9F4B14}" sibTransId="{D1C675FC-E7A7-48C8-9CC3-417F2651CA7D}"/>
    <dgm:cxn modelId="{0B3EB70C-D642-4DE2-AD7E-4DAB1D351F5D}" srcId="{E22B9992-E865-42EC-8364-1F7A60B2EBF4}" destId="{75B08E91-9030-471F-97BA-68DCFF19A5D6}" srcOrd="0" destOrd="0" parTransId="{3DC52DDC-A084-4634-99E4-0F1905B9C618}" sibTransId="{90A07FBB-664B-4590-A32D-3533757FABD8}"/>
    <dgm:cxn modelId="{B3FA7F16-6EC0-4D70-86A5-7153B3523E95}" type="presOf" srcId="{75B08E91-9030-471F-97BA-68DCFF19A5D6}" destId="{804998AA-9370-4DA8-932D-462AE9B88D67}" srcOrd="0" destOrd="0" presId="urn:microsoft.com/office/officeart/2005/8/layout/hList6"/>
    <dgm:cxn modelId="{8214344A-403E-49B1-B3F7-723D557A464F}" type="presOf" srcId="{E2C7E450-579E-4C04-ABEA-0E3C9195E822}" destId="{427D0D2D-3DE5-4063-B9AF-DC18FAB8E5FE}" srcOrd="0" destOrd="0" presId="urn:microsoft.com/office/officeart/2005/8/layout/hList6"/>
    <dgm:cxn modelId="{00F6637D-5FF0-4971-B3E7-CB5D36978003}" srcId="{E22B9992-E865-42EC-8364-1F7A60B2EBF4}" destId="{E2C7E450-579E-4C04-ABEA-0E3C9195E822}" srcOrd="2" destOrd="0" parTransId="{5315AD68-6ADD-4F9E-AA24-E9C77B314561}" sibTransId="{F1139C98-C4CB-445A-8338-A17F3A791E1B}"/>
    <dgm:cxn modelId="{1A2FF5A1-30FF-4CF4-B05A-C9F8C5CD2113}" type="presOf" srcId="{74FA6716-0829-4450-BC8C-7321EEBA38FD}" destId="{0629F4F0-AE75-4EAD-B852-B173D0B4F8E8}" srcOrd="0" destOrd="0" presId="urn:microsoft.com/office/officeart/2005/8/layout/hList6"/>
    <dgm:cxn modelId="{72DA28A6-BD39-4AE6-84D0-A38EE6FC78FC}" srcId="{E22B9992-E865-42EC-8364-1F7A60B2EBF4}" destId="{74FA6716-0829-4450-BC8C-7321EEBA38FD}" srcOrd="3" destOrd="0" parTransId="{E4732982-319F-491C-A90C-5B92D1E0044B}" sibTransId="{F032B025-E550-4AA0-9E5E-FDB0CE3EBFB6}"/>
    <dgm:cxn modelId="{3DDDE1B7-DC61-433C-8DEF-C950E4C51731}" type="presOf" srcId="{E22B9992-E865-42EC-8364-1F7A60B2EBF4}" destId="{E6768BCE-4642-47BC-9CE3-080E3FE8DEDE}" srcOrd="0" destOrd="0" presId="urn:microsoft.com/office/officeart/2005/8/layout/hList6"/>
    <dgm:cxn modelId="{8381FAFB-F783-4825-94F0-6D4FB2160489}" type="presOf" srcId="{F9F287EF-4B2E-4F20-B8A3-C68BD29774BA}" destId="{43CEC55B-3587-4A98-B54B-48907F4B27F2}" srcOrd="0" destOrd="0" presId="urn:microsoft.com/office/officeart/2005/8/layout/hList6"/>
    <dgm:cxn modelId="{099D6C0F-87F8-4174-9C21-AAC469E19D53}" type="presParOf" srcId="{E6768BCE-4642-47BC-9CE3-080E3FE8DEDE}" destId="{804998AA-9370-4DA8-932D-462AE9B88D67}" srcOrd="0" destOrd="0" presId="urn:microsoft.com/office/officeart/2005/8/layout/hList6"/>
    <dgm:cxn modelId="{289698A5-E946-4EC3-838D-D65164C7439B}" type="presParOf" srcId="{E6768BCE-4642-47BC-9CE3-080E3FE8DEDE}" destId="{71EE68D1-2946-4D83-8544-6C3333BFDA91}" srcOrd="1" destOrd="0" presId="urn:microsoft.com/office/officeart/2005/8/layout/hList6"/>
    <dgm:cxn modelId="{2AE35C71-9814-4E98-9585-4E8D44A85DC4}" type="presParOf" srcId="{E6768BCE-4642-47BC-9CE3-080E3FE8DEDE}" destId="{43CEC55B-3587-4A98-B54B-48907F4B27F2}" srcOrd="2" destOrd="0" presId="urn:microsoft.com/office/officeart/2005/8/layout/hList6"/>
    <dgm:cxn modelId="{1CB78A13-A2A0-4473-8DD9-2A15547B298D}" type="presParOf" srcId="{E6768BCE-4642-47BC-9CE3-080E3FE8DEDE}" destId="{ED3BEBC4-CE75-4AEE-B381-7C256E46861F}" srcOrd="3" destOrd="0" presId="urn:microsoft.com/office/officeart/2005/8/layout/hList6"/>
    <dgm:cxn modelId="{35CD6A23-7A59-4716-AC71-0E90B4B2F120}" type="presParOf" srcId="{E6768BCE-4642-47BC-9CE3-080E3FE8DEDE}" destId="{427D0D2D-3DE5-4063-B9AF-DC18FAB8E5FE}" srcOrd="4" destOrd="0" presId="urn:microsoft.com/office/officeart/2005/8/layout/hList6"/>
    <dgm:cxn modelId="{1D15BF04-C9F7-452C-8783-E69E805642B0}" type="presParOf" srcId="{E6768BCE-4642-47BC-9CE3-080E3FE8DEDE}" destId="{3544EF16-9238-4A23-B4A7-63A428DC7C62}" srcOrd="5" destOrd="0" presId="urn:microsoft.com/office/officeart/2005/8/layout/hList6"/>
    <dgm:cxn modelId="{1E8BC073-C69B-484C-8918-7104DA94E3A2}" type="presParOf" srcId="{E6768BCE-4642-47BC-9CE3-080E3FE8DEDE}" destId="{0629F4F0-AE75-4EAD-B852-B173D0B4F8E8}" srcOrd="6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9284A2C-2192-48DD-B430-C1E9D25C2298}" type="doc">
      <dgm:prSet loTypeId="urn:microsoft.com/office/officeart/2005/8/layout/process1" loCatId="process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C296A298-72BB-428E-8E27-EDF88CA091E0}">
      <dgm:prSet/>
      <dgm:spPr/>
      <dgm:t>
        <a:bodyPr/>
        <a:lstStyle/>
        <a:p>
          <a:pPr algn="l" rtl="0"/>
          <a:r>
            <a:rPr lang="en-US" b="1" i="1" u="none" dirty="0"/>
            <a:t>Non-Federal with Interviews</a:t>
          </a:r>
        </a:p>
        <a:p>
          <a:pPr algn="l" rtl="0"/>
          <a:r>
            <a:rPr lang="en-US" b="0" dirty="0"/>
            <a:t>145 working days from RFP kick-off to contract execution</a:t>
          </a:r>
          <a:endParaRPr lang="en-US" u="none" dirty="0"/>
        </a:p>
      </dgm:t>
    </dgm:pt>
    <dgm:pt modelId="{D5315B18-D4DB-417E-BE50-97CF7E7137A1}" type="parTrans" cxnId="{588A3D8E-50E4-4871-80BC-3F4E06CDB1C2}">
      <dgm:prSet/>
      <dgm:spPr/>
      <dgm:t>
        <a:bodyPr/>
        <a:lstStyle/>
        <a:p>
          <a:endParaRPr lang="en-US"/>
        </a:p>
      </dgm:t>
    </dgm:pt>
    <dgm:pt modelId="{C80E2E51-C322-4284-87D0-AFE476DB3184}" type="sibTrans" cxnId="{588A3D8E-50E4-4871-80BC-3F4E06CDB1C2}">
      <dgm:prSet/>
      <dgm:spPr/>
      <dgm:t>
        <a:bodyPr/>
        <a:lstStyle/>
        <a:p>
          <a:endParaRPr lang="en-US"/>
        </a:p>
      </dgm:t>
    </dgm:pt>
    <dgm:pt modelId="{E5CFBD35-B724-4E73-A5CC-0AB1BFA5003E}" type="pres">
      <dgm:prSet presAssocID="{99284A2C-2192-48DD-B430-C1E9D25C2298}" presName="Name0" presStyleCnt="0">
        <dgm:presLayoutVars>
          <dgm:dir/>
          <dgm:resizeHandles val="exact"/>
        </dgm:presLayoutVars>
      </dgm:prSet>
      <dgm:spPr/>
    </dgm:pt>
    <dgm:pt modelId="{8F0BB0CF-2B57-4A80-8AA0-A7BF74D70499}" type="pres">
      <dgm:prSet presAssocID="{C296A298-72BB-428E-8E27-EDF88CA091E0}" presName="node" presStyleLbl="node1" presStyleIdx="0" presStyleCnt="1" custLinFactNeighborX="-890">
        <dgm:presLayoutVars>
          <dgm:bulletEnabled val="1"/>
        </dgm:presLayoutVars>
      </dgm:prSet>
      <dgm:spPr/>
    </dgm:pt>
  </dgm:ptLst>
  <dgm:cxnLst>
    <dgm:cxn modelId="{99563170-C54E-40D9-8696-4B3925F33354}" type="presOf" srcId="{99284A2C-2192-48DD-B430-C1E9D25C2298}" destId="{E5CFBD35-B724-4E73-A5CC-0AB1BFA5003E}" srcOrd="0" destOrd="0" presId="urn:microsoft.com/office/officeart/2005/8/layout/process1"/>
    <dgm:cxn modelId="{588A3D8E-50E4-4871-80BC-3F4E06CDB1C2}" srcId="{99284A2C-2192-48DD-B430-C1E9D25C2298}" destId="{C296A298-72BB-428E-8E27-EDF88CA091E0}" srcOrd="0" destOrd="0" parTransId="{D5315B18-D4DB-417E-BE50-97CF7E7137A1}" sibTransId="{C80E2E51-C322-4284-87D0-AFE476DB3184}"/>
    <dgm:cxn modelId="{5CE2C9E9-A10A-4759-97DE-43B08CD0E02E}" type="presOf" srcId="{C296A298-72BB-428E-8E27-EDF88CA091E0}" destId="{8F0BB0CF-2B57-4A80-8AA0-A7BF74D70499}" srcOrd="0" destOrd="0" presId="urn:microsoft.com/office/officeart/2005/8/layout/process1"/>
    <dgm:cxn modelId="{073F7060-636A-4F70-8E61-6F66543A818B}" type="presParOf" srcId="{E5CFBD35-B724-4E73-A5CC-0AB1BFA5003E}" destId="{8F0BB0CF-2B57-4A80-8AA0-A7BF74D70499}" srcOrd="0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322ECEA-C9EB-4777-84BC-621468AC50C0}" type="doc">
      <dgm:prSet loTypeId="urn:microsoft.com/office/officeart/2005/8/layout/vProcess5" loCatId="process" qsTypeId="urn:microsoft.com/office/officeart/2005/8/quickstyle/simple4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00B2227E-7D0D-4744-93B8-5880FFE0FE88}">
      <dgm:prSet phldrT="[Text]" custT="1"/>
      <dgm:spPr/>
      <dgm:t>
        <a:bodyPr/>
        <a:lstStyle/>
        <a:p>
          <a:r>
            <a:rPr lang="en-US" sz="1600" b="1" dirty="0"/>
            <a:t>Proposal Evaluation </a:t>
          </a:r>
        </a:p>
        <a:p>
          <a:r>
            <a:rPr lang="en-US" sz="1200" b="0" dirty="0"/>
            <a:t>Short-listed providers move to the interview phase</a:t>
          </a:r>
        </a:p>
      </dgm:t>
    </dgm:pt>
    <dgm:pt modelId="{B11D9818-1246-4867-8A40-BFDBB142D439}" type="parTrans" cxnId="{FA46523B-3939-4D05-9B06-FF0786C7DB5F}">
      <dgm:prSet/>
      <dgm:spPr/>
      <dgm:t>
        <a:bodyPr/>
        <a:lstStyle/>
        <a:p>
          <a:endParaRPr lang="en-US"/>
        </a:p>
      </dgm:t>
    </dgm:pt>
    <dgm:pt modelId="{6D2D6408-188D-46CD-A6E6-5B15C3C93327}" type="sibTrans" cxnId="{FA46523B-3939-4D05-9B06-FF0786C7DB5F}">
      <dgm:prSet/>
      <dgm:spPr/>
      <dgm:t>
        <a:bodyPr/>
        <a:lstStyle/>
        <a:p>
          <a:endParaRPr lang="en-US"/>
        </a:p>
      </dgm:t>
    </dgm:pt>
    <dgm:pt modelId="{B534827A-E9D3-4709-9F5F-1C619CC7CED8}">
      <dgm:prSet phldrT="[Text]" custT="1"/>
      <dgm:spPr/>
      <dgm:t>
        <a:bodyPr/>
        <a:lstStyle/>
        <a:p>
          <a:r>
            <a:rPr lang="en-US" sz="1600" b="1" dirty="0"/>
            <a:t>Interview Evaluation</a:t>
          </a:r>
          <a:endParaRPr lang="en-US" sz="1600" dirty="0"/>
        </a:p>
      </dgm:t>
    </dgm:pt>
    <dgm:pt modelId="{227F535A-3946-432E-B05C-8854C49DADF3}" type="parTrans" cxnId="{54F11CD6-AD86-4205-AA7A-DB091C380C3C}">
      <dgm:prSet/>
      <dgm:spPr/>
      <dgm:t>
        <a:bodyPr/>
        <a:lstStyle/>
        <a:p>
          <a:endParaRPr lang="en-US"/>
        </a:p>
      </dgm:t>
    </dgm:pt>
    <dgm:pt modelId="{B5A17B9D-D3B0-4D4B-A78B-B06D168DF60F}" type="sibTrans" cxnId="{54F11CD6-AD86-4205-AA7A-DB091C380C3C}">
      <dgm:prSet/>
      <dgm:spPr/>
      <dgm:t>
        <a:bodyPr/>
        <a:lstStyle/>
        <a:p>
          <a:endParaRPr lang="en-US"/>
        </a:p>
      </dgm:t>
    </dgm:pt>
    <dgm:pt modelId="{1F44B31E-8CF0-4759-BBFC-8454B1E52A33}">
      <dgm:prSet phldrT="[Text]" custT="1"/>
      <dgm:spPr/>
      <dgm:t>
        <a:bodyPr/>
        <a:lstStyle/>
        <a:p>
          <a:r>
            <a:rPr lang="en-US" sz="1600" b="1" dirty="0"/>
            <a:t>Selection</a:t>
          </a:r>
          <a:endParaRPr lang="en-US" sz="1600" dirty="0"/>
        </a:p>
      </dgm:t>
    </dgm:pt>
    <dgm:pt modelId="{56138519-2228-433C-9097-5F77746AAEC0}" type="parTrans" cxnId="{2C149882-4926-4BA3-BF32-E0A609D53E76}">
      <dgm:prSet/>
      <dgm:spPr/>
      <dgm:t>
        <a:bodyPr/>
        <a:lstStyle/>
        <a:p>
          <a:endParaRPr lang="en-US"/>
        </a:p>
      </dgm:t>
    </dgm:pt>
    <dgm:pt modelId="{AF9ABBF4-37DC-4751-BE56-A2AFD54BD137}" type="sibTrans" cxnId="{2C149882-4926-4BA3-BF32-E0A609D53E76}">
      <dgm:prSet/>
      <dgm:spPr/>
      <dgm:t>
        <a:bodyPr/>
        <a:lstStyle/>
        <a:p>
          <a:endParaRPr lang="en-US"/>
        </a:p>
      </dgm:t>
    </dgm:pt>
    <dgm:pt modelId="{6B03C23E-1DC3-4B10-806B-98EE955D2C27}" type="pres">
      <dgm:prSet presAssocID="{2322ECEA-C9EB-4777-84BC-621468AC50C0}" presName="outerComposite" presStyleCnt="0">
        <dgm:presLayoutVars>
          <dgm:chMax val="5"/>
          <dgm:dir/>
          <dgm:resizeHandles val="exact"/>
        </dgm:presLayoutVars>
      </dgm:prSet>
      <dgm:spPr/>
    </dgm:pt>
    <dgm:pt modelId="{C3875388-A38C-4EA0-8BD1-561E6F1B2CBD}" type="pres">
      <dgm:prSet presAssocID="{2322ECEA-C9EB-4777-84BC-621468AC50C0}" presName="dummyMaxCanvas" presStyleCnt="0">
        <dgm:presLayoutVars/>
      </dgm:prSet>
      <dgm:spPr/>
    </dgm:pt>
    <dgm:pt modelId="{C8BD37BA-AB81-48A7-973F-BF2E422F8815}" type="pres">
      <dgm:prSet presAssocID="{2322ECEA-C9EB-4777-84BC-621468AC50C0}" presName="ThreeNodes_1" presStyleLbl="node1" presStyleIdx="0" presStyleCnt="3" custScaleX="117647">
        <dgm:presLayoutVars>
          <dgm:bulletEnabled val="1"/>
        </dgm:presLayoutVars>
      </dgm:prSet>
      <dgm:spPr/>
    </dgm:pt>
    <dgm:pt modelId="{C590E2DC-6879-447D-BEC9-3D5E9660EAC6}" type="pres">
      <dgm:prSet presAssocID="{2322ECEA-C9EB-4777-84BC-621468AC50C0}" presName="ThreeNodes_2" presStyleLbl="node1" presStyleIdx="1" presStyleCnt="3" custScaleX="115726">
        <dgm:presLayoutVars>
          <dgm:bulletEnabled val="1"/>
        </dgm:presLayoutVars>
      </dgm:prSet>
      <dgm:spPr/>
    </dgm:pt>
    <dgm:pt modelId="{23AF7685-0CF2-4454-9D77-2CD6DF2CF549}" type="pres">
      <dgm:prSet presAssocID="{2322ECEA-C9EB-4777-84BC-621468AC50C0}" presName="ThreeNodes_3" presStyleLbl="node1" presStyleIdx="2" presStyleCnt="3" custScaleX="117647">
        <dgm:presLayoutVars>
          <dgm:bulletEnabled val="1"/>
        </dgm:presLayoutVars>
      </dgm:prSet>
      <dgm:spPr/>
    </dgm:pt>
    <dgm:pt modelId="{C21BFC84-AEEF-4B3F-8157-5CA6D07D96E6}" type="pres">
      <dgm:prSet presAssocID="{2322ECEA-C9EB-4777-84BC-621468AC50C0}" presName="ThreeConn_1-2" presStyleLbl="fgAccFollowNode1" presStyleIdx="0" presStyleCnt="2">
        <dgm:presLayoutVars>
          <dgm:bulletEnabled val="1"/>
        </dgm:presLayoutVars>
      </dgm:prSet>
      <dgm:spPr/>
    </dgm:pt>
    <dgm:pt modelId="{E53742DA-1351-494C-AB6C-C36D36C764E9}" type="pres">
      <dgm:prSet presAssocID="{2322ECEA-C9EB-4777-84BC-621468AC50C0}" presName="ThreeConn_2-3" presStyleLbl="fgAccFollowNode1" presStyleIdx="1" presStyleCnt="2">
        <dgm:presLayoutVars>
          <dgm:bulletEnabled val="1"/>
        </dgm:presLayoutVars>
      </dgm:prSet>
      <dgm:spPr/>
    </dgm:pt>
    <dgm:pt modelId="{9DEE3E41-359F-4640-972A-FE07D76CBCC4}" type="pres">
      <dgm:prSet presAssocID="{2322ECEA-C9EB-4777-84BC-621468AC50C0}" presName="ThreeNodes_1_text" presStyleLbl="node1" presStyleIdx="2" presStyleCnt="3">
        <dgm:presLayoutVars>
          <dgm:bulletEnabled val="1"/>
        </dgm:presLayoutVars>
      </dgm:prSet>
      <dgm:spPr/>
    </dgm:pt>
    <dgm:pt modelId="{B6A50A5D-A5E8-4EA5-9A85-9D5ED7DA67B0}" type="pres">
      <dgm:prSet presAssocID="{2322ECEA-C9EB-4777-84BC-621468AC50C0}" presName="ThreeNodes_2_text" presStyleLbl="node1" presStyleIdx="2" presStyleCnt="3">
        <dgm:presLayoutVars>
          <dgm:bulletEnabled val="1"/>
        </dgm:presLayoutVars>
      </dgm:prSet>
      <dgm:spPr/>
    </dgm:pt>
    <dgm:pt modelId="{B9EA9993-D7F1-429B-B89C-A43EE7FD1DD3}" type="pres">
      <dgm:prSet presAssocID="{2322ECEA-C9EB-4777-84BC-621468AC50C0}" presName="ThreeNodes_3_text" presStyleLbl="node1" presStyleIdx="2" presStyleCnt="3">
        <dgm:presLayoutVars>
          <dgm:bulletEnabled val="1"/>
        </dgm:presLayoutVars>
      </dgm:prSet>
      <dgm:spPr/>
    </dgm:pt>
  </dgm:ptLst>
  <dgm:cxnLst>
    <dgm:cxn modelId="{F2261227-7728-48DC-B551-4FD6DA61F799}" type="presOf" srcId="{B534827A-E9D3-4709-9F5F-1C619CC7CED8}" destId="{B6A50A5D-A5E8-4EA5-9A85-9D5ED7DA67B0}" srcOrd="1" destOrd="0" presId="urn:microsoft.com/office/officeart/2005/8/layout/vProcess5"/>
    <dgm:cxn modelId="{15408A2C-C3FC-49C3-A8A2-191C0EB89161}" type="presOf" srcId="{6D2D6408-188D-46CD-A6E6-5B15C3C93327}" destId="{C21BFC84-AEEF-4B3F-8157-5CA6D07D96E6}" srcOrd="0" destOrd="0" presId="urn:microsoft.com/office/officeart/2005/8/layout/vProcess5"/>
    <dgm:cxn modelId="{FA46523B-3939-4D05-9B06-FF0786C7DB5F}" srcId="{2322ECEA-C9EB-4777-84BC-621468AC50C0}" destId="{00B2227E-7D0D-4744-93B8-5880FFE0FE88}" srcOrd="0" destOrd="0" parTransId="{B11D9818-1246-4867-8A40-BFDBB142D439}" sibTransId="{6D2D6408-188D-46CD-A6E6-5B15C3C93327}"/>
    <dgm:cxn modelId="{3D91B64A-DF25-42AC-ABEE-4D1887DE8847}" type="presOf" srcId="{00B2227E-7D0D-4744-93B8-5880FFE0FE88}" destId="{9DEE3E41-359F-4640-972A-FE07D76CBCC4}" srcOrd="1" destOrd="0" presId="urn:microsoft.com/office/officeart/2005/8/layout/vProcess5"/>
    <dgm:cxn modelId="{CF27F976-64AA-4E5B-A82E-C79EA76DD1D8}" type="presOf" srcId="{1F44B31E-8CF0-4759-BBFC-8454B1E52A33}" destId="{B9EA9993-D7F1-429B-B89C-A43EE7FD1DD3}" srcOrd="1" destOrd="0" presId="urn:microsoft.com/office/officeart/2005/8/layout/vProcess5"/>
    <dgm:cxn modelId="{2C149882-4926-4BA3-BF32-E0A609D53E76}" srcId="{2322ECEA-C9EB-4777-84BC-621468AC50C0}" destId="{1F44B31E-8CF0-4759-BBFC-8454B1E52A33}" srcOrd="2" destOrd="0" parTransId="{56138519-2228-433C-9097-5F77746AAEC0}" sibTransId="{AF9ABBF4-37DC-4751-BE56-A2AFD54BD137}"/>
    <dgm:cxn modelId="{3F724DC8-69C7-436A-85F3-15B6CDC5ED3D}" type="presOf" srcId="{B5A17B9D-D3B0-4D4B-A78B-B06D168DF60F}" destId="{E53742DA-1351-494C-AB6C-C36D36C764E9}" srcOrd="0" destOrd="0" presId="urn:microsoft.com/office/officeart/2005/8/layout/vProcess5"/>
    <dgm:cxn modelId="{F575F9CB-F5F6-4AB3-BCEA-59BF17B92BCE}" type="presOf" srcId="{1F44B31E-8CF0-4759-BBFC-8454B1E52A33}" destId="{23AF7685-0CF2-4454-9D77-2CD6DF2CF549}" srcOrd="0" destOrd="0" presId="urn:microsoft.com/office/officeart/2005/8/layout/vProcess5"/>
    <dgm:cxn modelId="{3B731BD5-F2B8-4140-9809-2727048D80C0}" type="presOf" srcId="{B534827A-E9D3-4709-9F5F-1C619CC7CED8}" destId="{C590E2DC-6879-447D-BEC9-3D5E9660EAC6}" srcOrd="0" destOrd="0" presId="urn:microsoft.com/office/officeart/2005/8/layout/vProcess5"/>
    <dgm:cxn modelId="{54F11CD6-AD86-4205-AA7A-DB091C380C3C}" srcId="{2322ECEA-C9EB-4777-84BC-621468AC50C0}" destId="{B534827A-E9D3-4709-9F5F-1C619CC7CED8}" srcOrd="1" destOrd="0" parTransId="{227F535A-3946-432E-B05C-8854C49DADF3}" sibTransId="{B5A17B9D-D3B0-4D4B-A78B-B06D168DF60F}"/>
    <dgm:cxn modelId="{8D5A9CF1-E4C8-4283-B0B3-95935DB22EC9}" type="presOf" srcId="{00B2227E-7D0D-4744-93B8-5880FFE0FE88}" destId="{C8BD37BA-AB81-48A7-973F-BF2E422F8815}" srcOrd="0" destOrd="0" presId="urn:microsoft.com/office/officeart/2005/8/layout/vProcess5"/>
    <dgm:cxn modelId="{325A6AF6-D1AE-473E-91BE-A452FC084302}" type="presOf" srcId="{2322ECEA-C9EB-4777-84BC-621468AC50C0}" destId="{6B03C23E-1DC3-4B10-806B-98EE955D2C27}" srcOrd="0" destOrd="0" presId="urn:microsoft.com/office/officeart/2005/8/layout/vProcess5"/>
    <dgm:cxn modelId="{9F74CEF6-0AFF-493F-83ED-1B5F6D0AE47E}" type="presParOf" srcId="{6B03C23E-1DC3-4B10-806B-98EE955D2C27}" destId="{C3875388-A38C-4EA0-8BD1-561E6F1B2CBD}" srcOrd="0" destOrd="0" presId="urn:microsoft.com/office/officeart/2005/8/layout/vProcess5"/>
    <dgm:cxn modelId="{938FF3AF-588C-4F63-AC73-312A1D39CA23}" type="presParOf" srcId="{6B03C23E-1DC3-4B10-806B-98EE955D2C27}" destId="{C8BD37BA-AB81-48A7-973F-BF2E422F8815}" srcOrd="1" destOrd="0" presId="urn:microsoft.com/office/officeart/2005/8/layout/vProcess5"/>
    <dgm:cxn modelId="{206983A5-C351-46F6-8C68-3277DD0AF36E}" type="presParOf" srcId="{6B03C23E-1DC3-4B10-806B-98EE955D2C27}" destId="{C590E2DC-6879-447D-BEC9-3D5E9660EAC6}" srcOrd="2" destOrd="0" presId="urn:microsoft.com/office/officeart/2005/8/layout/vProcess5"/>
    <dgm:cxn modelId="{94B34D5B-3CB5-4E61-A669-F47D6B3FD17A}" type="presParOf" srcId="{6B03C23E-1DC3-4B10-806B-98EE955D2C27}" destId="{23AF7685-0CF2-4454-9D77-2CD6DF2CF549}" srcOrd="3" destOrd="0" presId="urn:microsoft.com/office/officeart/2005/8/layout/vProcess5"/>
    <dgm:cxn modelId="{F198C266-FDFD-4095-B650-BF76DE3F5B48}" type="presParOf" srcId="{6B03C23E-1DC3-4B10-806B-98EE955D2C27}" destId="{C21BFC84-AEEF-4B3F-8157-5CA6D07D96E6}" srcOrd="4" destOrd="0" presId="urn:microsoft.com/office/officeart/2005/8/layout/vProcess5"/>
    <dgm:cxn modelId="{2C6892CD-41CC-4015-A8CE-97A9CF536594}" type="presParOf" srcId="{6B03C23E-1DC3-4B10-806B-98EE955D2C27}" destId="{E53742DA-1351-494C-AB6C-C36D36C764E9}" srcOrd="5" destOrd="0" presId="urn:microsoft.com/office/officeart/2005/8/layout/vProcess5"/>
    <dgm:cxn modelId="{3A6A2375-1E08-4FC1-8E9C-4FB4D2EC7B52}" type="presParOf" srcId="{6B03C23E-1DC3-4B10-806B-98EE955D2C27}" destId="{9DEE3E41-359F-4640-972A-FE07D76CBCC4}" srcOrd="6" destOrd="0" presId="urn:microsoft.com/office/officeart/2005/8/layout/vProcess5"/>
    <dgm:cxn modelId="{D28E3B11-C8C0-4DBE-AC26-725A2589FCF2}" type="presParOf" srcId="{6B03C23E-1DC3-4B10-806B-98EE955D2C27}" destId="{B6A50A5D-A5E8-4EA5-9A85-9D5ED7DA67B0}" srcOrd="7" destOrd="0" presId="urn:microsoft.com/office/officeart/2005/8/layout/vProcess5"/>
    <dgm:cxn modelId="{48512CB3-ED1B-4315-8B29-FDFBD56CAD66}" type="presParOf" srcId="{6B03C23E-1DC3-4B10-806B-98EE955D2C27}" destId="{B9EA9993-D7F1-429B-B89C-A43EE7FD1DD3}" srcOrd="8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A98AD737-F33E-4E0F-B921-2B006C08C063}" type="doc">
      <dgm:prSet loTypeId="urn:microsoft.com/office/officeart/2005/8/layout/hList1" loCatId="list" qsTypeId="urn:microsoft.com/office/officeart/2005/8/quickstyle/simple4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D7C30EA9-775E-4AB7-A9C5-5FE4F858B1BE}">
      <dgm:prSet/>
      <dgm:spPr/>
      <dgm:t>
        <a:bodyPr/>
        <a:lstStyle/>
        <a:p>
          <a:pPr rtl="0"/>
          <a:r>
            <a:rPr lang="en-US" b="1" i="1" u="none" dirty="0"/>
            <a:t>Key Items</a:t>
          </a:r>
          <a:endParaRPr lang="en-US" u="none" dirty="0"/>
        </a:p>
      </dgm:t>
    </dgm:pt>
    <dgm:pt modelId="{B313116E-65E5-413C-AC3C-9FD95D75AC09}" type="parTrans" cxnId="{A46B56CC-11F8-4DC4-BFA3-470DD23341D5}">
      <dgm:prSet/>
      <dgm:spPr/>
      <dgm:t>
        <a:bodyPr/>
        <a:lstStyle/>
        <a:p>
          <a:endParaRPr lang="en-US"/>
        </a:p>
      </dgm:t>
    </dgm:pt>
    <dgm:pt modelId="{F6903824-D5A4-4903-93FA-3EDF9C24FBC9}" type="sibTrans" cxnId="{A46B56CC-11F8-4DC4-BFA3-470DD23341D5}">
      <dgm:prSet/>
      <dgm:spPr/>
      <dgm:t>
        <a:bodyPr/>
        <a:lstStyle/>
        <a:p>
          <a:endParaRPr lang="en-US"/>
        </a:p>
      </dgm:t>
    </dgm:pt>
    <dgm:pt modelId="{6F050256-ABB7-45EC-9AA7-425CC00B5B4A}">
      <dgm:prSet/>
      <dgm:spPr/>
      <dgm:t>
        <a:bodyPr/>
        <a:lstStyle/>
        <a:p>
          <a:pPr rtl="0"/>
          <a:r>
            <a:rPr lang="en-US" b="1" dirty="0"/>
            <a:t>RFP Reminders</a:t>
          </a:r>
          <a:endParaRPr lang="en-US" dirty="0"/>
        </a:p>
      </dgm:t>
    </dgm:pt>
    <dgm:pt modelId="{ACBD23D0-71A0-4801-B010-14374F3FAB65}" type="parTrans" cxnId="{E3993D49-B1A6-46FC-8EE0-88A3A5312F32}">
      <dgm:prSet/>
      <dgm:spPr/>
      <dgm:t>
        <a:bodyPr/>
        <a:lstStyle/>
        <a:p>
          <a:endParaRPr lang="en-US"/>
        </a:p>
      </dgm:t>
    </dgm:pt>
    <dgm:pt modelId="{6BB164FD-686E-424D-AAD8-F85C3931A2FC}" type="sibTrans" cxnId="{E3993D49-B1A6-46FC-8EE0-88A3A5312F32}">
      <dgm:prSet/>
      <dgm:spPr/>
      <dgm:t>
        <a:bodyPr/>
        <a:lstStyle/>
        <a:p>
          <a:endParaRPr lang="en-US"/>
        </a:p>
      </dgm:t>
    </dgm:pt>
    <dgm:pt modelId="{FE8682CA-1094-4191-8544-2406B9364215}">
      <dgm:prSet/>
      <dgm:spPr/>
      <dgm:t>
        <a:bodyPr/>
        <a:lstStyle/>
        <a:p>
          <a:pPr rtl="0"/>
          <a:r>
            <a:rPr lang="en-US" b="1" dirty="0"/>
            <a:t>Submit to Euna using the correct formats</a:t>
          </a:r>
          <a:endParaRPr lang="en-US" dirty="0"/>
        </a:p>
      </dgm:t>
    </dgm:pt>
    <dgm:pt modelId="{43477924-44ED-4235-91BA-952E8695FC84}" type="parTrans" cxnId="{30FE92D0-9465-4DDD-9CEC-6430234C62C0}">
      <dgm:prSet/>
      <dgm:spPr/>
      <dgm:t>
        <a:bodyPr/>
        <a:lstStyle/>
        <a:p>
          <a:endParaRPr lang="en-US"/>
        </a:p>
      </dgm:t>
    </dgm:pt>
    <dgm:pt modelId="{00072AE0-714C-4B2C-B437-42096E30DFAE}" type="sibTrans" cxnId="{30FE92D0-9465-4DDD-9CEC-6430234C62C0}">
      <dgm:prSet/>
      <dgm:spPr/>
      <dgm:t>
        <a:bodyPr/>
        <a:lstStyle/>
        <a:p>
          <a:endParaRPr lang="en-US"/>
        </a:p>
      </dgm:t>
    </dgm:pt>
    <dgm:pt modelId="{64B4E3E2-2C25-4531-B757-51CE380B6CD7}">
      <dgm:prSet/>
      <dgm:spPr/>
      <dgm:t>
        <a:bodyPr/>
        <a:lstStyle/>
        <a:p>
          <a:pPr rtl="0"/>
          <a:r>
            <a:rPr lang="en-US" b="1" dirty="0"/>
            <a:t>Submit all applicable information required </a:t>
          </a:r>
          <a:endParaRPr lang="en-US" dirty="0"/>
        </a:p>
      </dgm:t>
    </dgm:pt>
    <dgm:pt modelId="{1676ED09-4949-48D0-B73F-1761AB8AFAC0}" type="parTrans" cxnId="{6AF19FE6-2941-46FE-A39D-123DE246E902}">
      <dgm:prSet/>
      <dgm:spPr/>
      <dgm:t>
        <a:bodyPr/>
        <a:lstStyle/>
        <a:p>
          <a:endParaRPr lang="en-US"/>
        </a:p>
      </dgm:t>
    </dgm:pt>
    <dgm:pt modelId="{DDF1F729-6AC4-4990-BA03-D536E5E2065F}" type="sibTrans" cxnId="{6AF19FE6-2941-46FE-A39D-123DE246E902}">
      <dgm:prSet/>
      <dgm:spPr/>
      <dgm:t>
        <a:bodyPr/>
        <a:lstStyle/>
        <a:p>
          <a:endParaRPr lang="en-US"/>
        </a:p>
      </dgm:t>
    </dgm:pt>
    <dgm:pt modelId="{9C9ABAAE-596B-4C81-B27F-A13488B4D0A9}">
      <dgm:prSet/>
      <dgm:spPr/>
      <dgm:t>
        <a:bodyPr/>
        <a:lstStyle/>
        <a:p>
          <a:pPr rtl="0"/>
          <a:r>
            <a:rPr lang="en-US" b="1" dirty="0"/>
            <a:t>Past performance will be captured at the RFP</a:t>
          </a:r>
        </a:p>
      </dgm:t>
    </dgm:pt>
    <dgm:pt modelId="{0FF0C776-B9A6-4B01-83AD-FE984920F17F}" type="parTrans" cxnId="{387F10D2-6E99-422D-895E-E8419AE853D3}">
      <dgm:prSet/>
      <dgm:spPr/>
      <dgm:t>
        <a:bodyPr/>
        <a:lstStyle/>
        <a:p>
          <a:endParaRPr lang="en-US"/>
        </a:p>
      </dgm:t>
    </dgm:pt>
    <dgm:pt modelId="{1BA9A60C-19A6-4E82-B6AB-F071325736FD}" type="sibTrans" cxnId="{387F10D2-6E99-422D-895E-E8419AE853D3}">
      <dgm:prSet/>
      <dgm:spPr/>
      <dgm:t>
        <a:bodyPr/>
        <a:lstStyle/>
        <a:p>
          <a:endParaRPr lang="en-US"/>
        </a:p>
      </dgm:t>
    </dgm:pt>
    <dgm:pt modelId="{91742F11-6448-45B3-8C89-854EC5843A1C}">
      <dgm:prSet/>
      <dgm:spPr/>
      <dgm:t>
        <a:bodyPr/>
        <a:lstStyle/>
        <a:p>
          <a:pPr rtl="0"/>
          <a:r>
            <a:rPr lang="en-US" b="1" i="1" u="none" dirty="0"/>
            <a:t>Avoid Disqualifications</a:t>
          </a:r>
        </a:p>
      </dgm:t>
    </dgm:pt>
    <dgm:pt modelId="{013C66CA-E0F1-4037-9CF9-716941DE911E}" type="parTrans" cxnId="{D50D7322-1AED-4D04-951B-1D0265621FA4}">
      <dgm:prSet/>
      <dgm:spPr/>
      <dgm:t>
        <a:bodyPr/>
        <a:lstStyle/>
        <a:p>
          <a:endParaRPr lang="en-US"/>
        </a:p>
      </dgm:t>
    </dgm:pt>
    <dgm:pt modelId="{D848D3B8-9340-4D6F-B595-910DB0A3BA68}" type="sibTrans" cxnId="{D50D7322-1AED-4D04-951B-1D0265621FA4}">
      <dgm:prSet/>
      <dgm:spPr/>
      <dgm:t>
        <a:bodyPr/>
        <a:lstStyle/>
        <a:p>
          <a:endParaRPr lang="en-US"/>
        </a:p>
      </dgm:t>
    </dgm:pt>
    <dgm:pt modelId="{431DF945-4043-4C8F-B47D-D194BCEBD840}">
      <dgm:prSet/>
      <dgm:spPr/>
      <dgm:t>
        <a:bodyPr/>
        <a:lstStyle/>
        <a:p>
          <a:pPr rtl="0"/>
          <a:r>
            <a:rPr lang="en-US" dirty="0"/>
            <a:t>Submit before the deadline</a:t>
          </a:r>
        </a:p>
      </dgm:t>
    </dgm:pt>
    <dgm:pt modelId="{6BB4496A-7209-4FE8-BE49-04C5B0B1042E}" type="parTrans" cxnId="{9041BCE7-3BF9-4266-98D0-E2989C7D66AD}">
      <dgm:prSet/>
      <dgm:spPr/>
      <dgm:t>
        <a:bodyPr/>
        <a:lstStyle/>
        <a:p>
          <a:endParaRPr lang="en-US"/>
        </a:p>
      </dgm:t>
    </dgm:pt>
    <dgm:pt modelId="{BB243AE2-317A-4556-A50D-4BBFE04E1CA9}" type="sibTrans" cxnId="{9041BCE7-3BF9-4266-98D0-E2989C7D66AD}">
      <dgm:prSet/>
      <dgm:spPr/>
      <dgm:t>
        <a:bodyPr/>
        <a:lstStyle/>
        <a:p>
          <a:endParaRPr lang="en-US"/>
        </a:p>
      </dgm:t>
    </dgm:pt>
    <dgm:pt modelId="{02E23558-56A7-4070-B1EC-A7914D2DB040}">
      <dgm:prSet/>
      <dgm:spPr/>
      <dgm:t>
        <a:bodyPr/>
        <a:lstStyle/>
        <a:p>
          <a:pPr rtl="0"/>
          <a:r>
            <a:rPr lang="en-US" dirty="0"/>
            <a:t>Check that all mandatory forms are in your submittal</a:t>
          </a:r>
        </a:p>
      </dgm:t>
    </dgm:pt>
    <dgm:pt modelId="{299BE336-445D-48E6-8CB5-7BB3AE403093}" type="parTrans" cxnId="{6BD8CA9C-FC95-48A7-9289-CDECD9989A16}">
      <dgm:prSet/>
      <dgm:spPr/>
      <dgm:t>
        <a:bodyPr/>
        <a:lstStyle/>
        <a:p>
          <a:endParaRPr lang="en-US"/>
        </a:p>
      </dgm:t>
    </dgm:pt>
    <dgm:pt modelId="{E01FC105-6136-499F-8EB0-CD32F0099C47}" type="sibTrans" cxnId="{6BD8CA9C-FC95-48A7-9289-CDECD9989A16}">
      <dgm:prSet/>
      <dgm:spPr/>
      <dgm:t>
        <a:bodyPr/>
        <a:lstStyle/>
        <a:p>
          <a:endParaRPr lang="en-US"/>
        </a:p>
      </dgm:t>
    </dgm:pt>
    <dgm:pt modelId="{4BD676B6-70B5-4B40-B6E6-7B963BEA296D}">
      <dgm:prSet/>
      <dgm:spPr/>
      <dgm:t>
        <a:bodyPr/>
        <a:lstStyle/>
        <a:p>
          <a:pPr rtl="0"/>
          <a:r>
            <a:rPr lang="en-US" dirty="0"/>
            <a:t>QA/QC the submittal by referring directly to the RFP to avoid disqualifications</a:t>
          </a:r>
        </a:p>
      </dgm:t>
    </dgm:pt>
    <dgm:pt modelId="{8820DED9-A8FE-4734-A67B-6BC78280793C}" type="parTrans" cxnId="{373C1092-3468-4CA6-8A18-86866E05746F}">
      <dgm:prSet/>
      <dgm:spPr/>
      <dgm:t>
        <a:bodyPr/>
        <a:lstStyle/>
        <a:p>
          <a:endParaRPr lang="en-US"/>
        </a:p>
      </dgm:t>
    </dgm:pt>
    <dgm:pt modelId="{FA2797D0-0ADA-43E5-A598-292A6DD5B3F5}" type="sibTrans" cxnId="{373C1092-3468-4CA6-8A18-86866E05746F}">
      <dgm:prSet/>
      <dgm:spPr/>
      <dgm:t>
        <a:bodyPr/>
        <a:lstStyle/>
        <a:p>
          <a:endParaRPr lang="en-US"/>
        </a:p>
      </dgm:t>
    </dgm:pt>
    <dgm:pt modelId="{F2801EA7-30ED-4AF9-A1D4-292B862B7FDF}">
      <dgm:prSet/>
      <dgm:spPr/>
      <dgm:t>
        <a:bodyPr/>
        <a:lstStyle/>
        <a:p>
          <a:pPr rtl="0"/>
          <a:r>
            <a:rPr lang="en-US" dirty="0"/>
            <a:t>Verify PM and TLs are matching in PTC and proposal</a:t>
          </a:r>
        </a:p>
      </dgm:t>
    </dgm:pt>
    <dgm:pt modelId="{067627B8-7FD7-4EC9-975E-23F067932BD1}" type="parTrans" cxnId="{11FD1104-E234-4594-A799-819A96F98862}">
      <dgm:prSet/>
      <dgm:spPr/>
      <dgm:t>
        <a:bodyPr/>
        <a:lstStyle/>
        <a:p>
          <a:endParaRPr lang="en-US"/>
        </a:p>
      </dgm:t>
    </dgm:pt>
    <dgm:pt modelId="{BC0A9645-E806-4F75-910F-6ABB4D4E50A1}" type="sibTrans" cxnId="{11FD1104-E234-4594-A799-819A96F98862}">
      <dgm:prSet/>
      <dgm:spPr/>
      <dgm:t>
        <a:bodyPr/>
        <a:lstStyle/>
        <a:p>
          <a:endParaRPr lang="en-US"/>
        </a:p>
      </dgm:t>
    </dgm:pt>
    <dgm:pt modelId="{404D6286-77A1-4291-86F3-A82FA1F5C572}">
      <dgm:prSet/>
      <dgm:spPr/>
      <dgm:t>
        <a:bodyPr/>
        <a:lstStyle/>
        <a:p>
          <a:r>
            <a:rPr lang="en-US" b="1" dirty="0"/>
            <a:t>Make sure to follow the RFP </a:t>
          </a:r>
        </a:p>
      </dgm:t>
    </dgm:pt>
    <dgm:pt modelId="{A58BA2B1-FC90-46CA-AB87-DD6BDD6B961C}" type="parTrans" cxnId="{819F1364-AFCE-4181-A1ED-C67E4A702670}">
      <dgm:prSet/>
      <dgm:spPr/>
      <dgm:t>
        <a:bodyPr/>
        <a:lstStyle/>
        <a:p>
          <a:endParaRPr lang="en-US"/>
        </a:p>
      </dgm:t>
    </dgm:pt>
    <dgm:pt modelId="{60828A2C-BCFE-4AB6-9F66-9D92E4E9782F}" type="sibTrans" cxnId="{819F1364-AFCE-4181-A1ED-C67E4A702670}">
      <dgm:prSet/>
      <dgm:spPr/>
      <dgm:t>
        <a:bodyPr/>
        <a:lstStyle/>
        <a:p>
          <a:endParaRPr lang="en-US"/>
        </a:p>
      </dgm:t>
    </dgm:pt>
    <dgm:pt modelId="{DDDDF208-B4E2-46DD-8029-FDAA2AC4E87F}">
      <dgm:prSet/>
      <dgm:spPr/>
      <dgm:t>
        <a:bodyPr/>
        <a:lstStyle/>
        <a:p>
          <a:r>
            <a:rPr lang="en-US" dirty="0"/>
            <a:t>Verify Task Leaders are pre-certified in standard work categories</a:t>
          </a:r>
        </a:p>
      </dgm:t>
    </dgm:pt>
    <dgm:pt modelId="{1021A04F-EAE9-4564-A678-580A243DB16E}" type="parTrans" cxnId="{0008DD76-AA04-4B38-A555-4AEDF0F96268}">
      <dgm:prSet/>
      <dgm:spPr/>
      <dgm:t>
        <a:bodyPr/>
        <a:lstStyle/>
        <a:p>
          <a:endParaRPr lang="en-US"/>
        </a:p>
      </dgm:t>
    </dgm:pt>
    <dgm:pt modelId="{3BF7F580-75F8-4C28-9ED2-05F23149EF06}" type="sibTrans" cxnId="{0008DD76-AA04-4B38-A555-4AEDF0F96268}">
      <dgm:prSet/>
      <dgm:spPr/>
      <dgm:t>
        <a:bodyPr/>
        <a:lstStyle/>
        <a:p>
          <a:endParaRPr lang="en-US"/>
        </a:p>
      </dgm:t>
    </dgm:pt>
    <dgm:pt modelId="{35789546-094F-4D31-82A1-942217744629}" type="pres">
      <dgm:prSet presAssocID="{A98AD737-F33E-4E0F-B921-2B006C08C063}" presName="Name0" presStyleCnt="0">
        <dgm:presLayoutVars>
          <dgm:dir/>
          <dgm:animLvl val="lvl"/>
          <dgm:resizeHandles val="exact"/>
        </dgm:presLayoutVars>
      </dgm:prSet>
      <dgm:spPr/>
    </dgm:pt>
    <dgm:pt modelId="{1F46B439-680D-439B-987D-17784B44F904}" type="pres">
      <dgm:prSet presAssocID="{D7C30EA9-775E-4AB7-A9C5-5FE4F858B1BE}" presName="composite" presStyleCnt="0"/>
      <dgm:spPr/>
    </dgm:pt>
    <dgm:pt modelId="{B23FE057-4A17-4699-A55B-B5C13C297498}" type="pres">
      <dgm:prSet presAssocID="{D7C30EA9-775E-4AB7-A9C5-5FE4F858B1BE}" presName="parTx" presStyleLbl="alignNode1" presStyleIdx="0" presStyleCnt="2">
        <dgm:presLayoutVars>
          <dgm:chMax val="0"/>
          <dgm:chPref val="0"/>
          <dgm:bulletEnabled val="1"/>
        </dgm:presLayoutVars>
      </dgm:prSet>
      <dgm:spPr/>
    </dgm:pt>
    <dgm:pt modelId="{98ADE268-8408-4D3A-B2B5-8C157CA255C1}" type="pres">
      <dgm:prSet presAssocID="{D7C30EA9-775E-4AB7-A9C5-5FE4F858B1BE}" presName="desTx" presStyleLbl="alignAccFollowNode1" presStyleIdx="0" presStyleCnt="2">
        <dgm:presLayoutVars>
          <dgm:bulletEnabled val="1"/>
        </dgm:presLayoutVars>
      </dgm:prSet>
      <dgm:spPr/>
    </dgm:pt>
    <dgm:pt modelId="{A1197103-8776-451A-B778-0C96CD3BE444}" type="pres">
      <dgm:prSet presAssocID="{F6903824-D5A4-4903-93FA-3EDF9C24FBC9}" presName="space" presStyleCnt="0"/>
      <dgm:spPr/>
    </dgm:pt>
    <dgm:pt modelId="{08EE1AB5-AE61-43A9-897E-2C17F8D6E5C3}" type="pres">
      <dgm:prSet presAssocID="{91742F11-6448-45B3-8C89-854EC5843A1C}" presName="composite" presStyleCnt="0"/>
      <dgm:spPr/>
    </dgm:pt>
    <dgm:pt modelId="{3B3D8962-D554-442F-B05D-8D6F114307A7}" type="pres">
      <dgm:prSet presAssocID="{91742F11-6448-45B3-8C89-854EC5843A1C}" presName="parTx" presStyleLbl="alignNode1" presStyleIdx="1" presStyleCnt="2">
        <dgm:presLayoutVars>
          <dgm:chMax val="0"/>
          <dgm:chPref val="0"/>
          <dgm:bulletEnabled val="1"/>
        </dgm:presLayoutVars>
      </dgm:prSet>
      <dgm:spPr/>
    </dgm:pt>
    <dgm:pt modelId="{D86CBA07-80A2-40FA-BDD3-5F66604E3D21}" type="pres">
      <dgm:prSet presAssocID="{91742F11-6448-45B3-8C89-854EC5843A1C}" presName="desTx" presStyleLbl="alignAccFollowNode1" presStyleIdx="1" presStyleCnt="2">
        <dgm:presLayoutVars>
          <dgm:bulletEnabled val="1"/>
        </dgm:presLayoutVars>
      </dgm:prSet>
      <dgm:spPr/>
    </dgm:pt>
  </dgm:ptLst>
  <dgm:cxnLst>
    <dgm:cxn modelId="{11FD1104-E234-4594-A799-819A96F98862}" srcId="{91742F11-6448-45B3-8C89-854EC5843A1C}" destId="{F2801EA7-30ED-4AF9-A1D4-292B862B7FDF}" srcOrd="4" destOrd="0" parTransId="{067627B8-7FD7-4EC9-975E-23F067932BD1}" sibTransId="{BC0A9645-E806-4F75-910F-6ABB4D4E50A1}"/>
    <dgm:cxn modelId="{CA9CCE06-871E-4602-A3BC-C8F752B01FCC}" type="presOf" srcId="{02E23558-56A7-4070-B1EC-A7914D2DB040}" destId="{D86CBA07-80A2-40FA-BDD3-5F66604E3D21}" srcOrd="0" destOrd="2" presId="urn:microsoft.com/office/officeart/2005/8/layout/hList1"/>
    <dgm:cxn modelId="{AC700C14-AA2E-4D0A-94A2-3214FC8A085F}" type="presOf" srcId="{91742F11-6448-45B3-8C89-854EC5843A1C}" destId="{3B3D8962-D554-442F-B05D-8D6F114307A7}" srcOrd="0" destOrd="0" presId="urn:microsoft.com/office/officeart/2005/8/layout/hList1"/>
    <dgm:cxn modelId="{D50D7322-1AED-4D04-951B-1D0265621FA4}" srcId="{A98AD737-F33E-4E0F-B921-2B006C08C063}" destId="{91742F11-6448-45B3-8C89-854EC5843A1C}" srcOrd="1" destOrd="0" parTransId="{013C66CA-E0F1-4037-9CF9-716941DE911E}" sibTransId="{D848D3B8-9340-4D6F-B595-910DB0A3BA68}"/>
    <dgm:cxn modelId="{20863C2D-DE89-4D78-B72D-77EF8DDFFC5A}" type="presOf" srcId="{6F050256-ABB7-45EC-9AA7-425CC00B5B4A}" destId="{98ADE268-8408-4D3A-B2B5-8C157CA255C1}" srcOrd="0" destOrd="0" presId="urn:microsoft.com/office/officeart/2005/8/layout/hList1"/>
    <dgm:cxn modelId="{8CD88137-7ED7-44CB-9D4A-F7684E2D3157}" type="presOf" srcId="{404D6286-77A1-4291-86F3-A82FA1F5C572}" destId="{98ADE268-8408-4D3A-B2B5-8C157CA255C1}" srcOrd="0" destOrd="4" presId="urn:microsoft.com/office/officeart/2005/8/layout/hList1"/>
    <dgm:cxn modelId="{91772E5D-BA37-402E-8F48-50978ABFA4ED}" type="presOf" srcId="{431DF945-4043-4C8F-B47D-D194BCEBD840}" destId="{D86CBA07-80A2-40FA-BDD3-5F66604E3D21}" srcOrd="0" destOrd="0" presId="urn:microsoft.com/office/officeart/2005/8/layout/hList1"/>
    <dgm:cxn modelId="{D7991443-7DD1-44AF-8768-F3D7F209EBA2}" type="presOf" srcId="{4BD676B6-70B5-4B40-B6E6-7B963BEA296D}" destId="{D86CBA07-80A2-40FA-BDD3-5F66604E3D21}" srcOrd="0" destOrd="1" presId="urn:microsoft.com/office/officeart/2005/8/layout/hList1"/>
    <dgm:cxn modelId="{B41F2963-5DEB-4A5D-AD7A-9B0E5CCDD564}" type="presOf" srcId="{F2801EA7-30ED-4AF9-A1D4-292B862B7FDF}" destId="{D86CBA07-80A2-40FA-BDD3-5F66604E3D21}" srcOrd="0" destOrd="4" presId="urn:microsoft.com/office/officeart/2005/8/layout/hList1"/>
    <dgm:cxn modelId="{819F1364-AFCE-4181-A1ED-C67E4A702670}" srcId="{6F050256-ABB7-45EC-9AA7-425CC00B5B4A}" destId="{404D6286-77A1-4291-86F3-A82FA1F5C572}" srcOrd="3" destOrd="0" parTransId="{A58BA2B1-FC90-46CA-AB87-DD6BDD6B961C}" sibTransId="{60828A2C-BCFE-4AB6-9F66-9D92E4E9782F}"/>
    <dgm:cxn modelId="{E3993D49-B1A6-46FC-8EE0-88A3A5312F32}" srcId="{D7C30EA9-775E-4AB7-A9C5-5FE4F858B1BE}" destId="{6F050256-ABB7-45EC-9AA7-425CC00B5B4A}" srcOrd="0" destOrd="0" parTransId="{ACBD23D0-71A0-4801-B010-14374F3FAB65}" sibTransId="{6BB164FD-686E-424D-AAD8-F85C3931A2FC}"/>
    <dgm:cxn modelId="{00AA3956-EA86-4335-9651-9167AADA1063}" type="presOf" srcId="{D7C30EA9-775E-4AB7-A9C5-5FE4F858B1BE}" destId="{B23FE057-4A17-4699-A55B-B5C13C297498}" srcOrd="0" destOrd="0" presId="urn:microsoft.com/office/officeart/2005/8/layout/hList1"/>
    <dgm:cxn modelId="{0008DD76-AA04-4B38-A555-4AEDF0F96268}" srcId="{91742F11-6448-45B3-8C89-854EC5843A1C}" destId="{DDDDF208-B4E2-46DD-8029-FDAA2AC4E87F}" srcOrd="3" destOrd="0" parTransId="{1021A04F-EAE9-4564-A678-580A243DB16E}" sibTransId="{3BF7F580-75F8-4C28-9ED2-05F23149EF06}"/>
    <dgm:cxn modelId="{CAC5487F-214A-4623-9E72-ED91927F3BBC}" type="presOf" srcId="{9C9ABAAE-596B-4C81-B27F-A13488B4D0A9}" destId="{98ADE268-8408-4D3A-B2B5-8C157CA255C1}" srcOrd="0" destOrd="3" presId="urn:microsoft.com/office/officeart/2005/8/layout/hList1"/>
    <dgm:cxn modelId="{D4C0328A-16EB-413B-8A75-096DC8190E4B}" type="presOf" srcId="{64B4E3E2-2C25-4531-B757-51CE380B6CD7}" destId="{98ADE268-8408-4D3A-B2B5-8C157CA255C1}" srcOrd="0" destOrd="2" presId="urn:microsoft.com/office/officeart/2005/8/layout/hList1"/>
    <dgm:cxn modelId="{7FE75D8E-A045-45F1-A26A-F10BBFD41204}" type="presOf" srcId="{FE8682CA-1094-4191-8544-2406B9364215}" destId="{98ADE268-8408-4D3A-B2B5-8C157CA255C1}" srcOrd="0" destOrd="1" presId="urn:microsoft.com/office/officeart/2005/8/layout/hList1"/>
    <dgm:cxn modelId="{B40B3390-6064-40FE-B542-35BA98B00A1E}" type="presOf" srcId="{A98AD737-F33E-4E0F-B921-2B006C08C063}" destId="{35789546-094F-4D31-82A1-942217744629}" srcOrd="0" destOrd="0" presId="urn:microsoft.com/office/officeart/2005/8/layout/hList1"/>
    <dgm:cxn modelId="{373C1092-3468-4CA6-8A18-86866E05746F}" srcId="{91742F11-6448-45B3-8C89-854EC5843A1C}" destId="{4BD676B6-70B5-4B40-B6E6-7B963BEA296D}" srcOrd="1" destOrd="0" parTransId="{8820DED9-A8FE-4734-A67B-6BC78280793C}" sibTransId="{FA2797D0-0ADA-43E5-A598-292A6DD5B3F5}"/>
    <dgm:cxn modelId="{6BD8CA9C-FC95-48A7-9289-CDECD9989A16}" srcId="{91742F11-6448-45B3-8C89-854EC5843A1C}" destId="{02E23558-56A7-4070-B1EC-A7914D2DB040}" srcOrd="2" destOrd="0" parTransId="{299BE336-445D-48E6-8CB5-7BB3AE403093}" sibTransId="{E01FC105-6136-499F-8EB0-CD32F0099C47}"/>
    <dgm:cxn modelId="{A46B56CC-11F8-4DC4-BFA3-470DD23341D5}" srcId="{A98AD737-F33E-4E0F-B921-2B006C08C063}" destId="{D7C30EA9-775E-4AB7-A9C5-5FE4F858B1BE}" srcOrd="0" destOrd="0" parTransId="{B313116E-65E5-413C-AC3C-9FD95D75AC09}" sibTransId="{F6903824-D5A4-4903-93FA-3EDF9C24FBC9}"/>
    <dgm:cxn modelId="{30FE92D0-9465-4DDD-9CEC-6430234C62C0}" srcId="{6F050256-ABB7-45EC-9AA7-425CC00B5B4A}" destId="{FE8682CA-1094-4191-8544-2406B9364215}" srcOrd="0" destOrd="0" parTransId="{43477924-44ED-4235-91BA-952E8695FC84}" sibTransId="{00072AE0-714C-4B2C-B437-42096E30DFAE}"/>
    <dgm:cxn modelId="{387F10D2-6E99-422D-895E-E8419AE853D3}" srcId="{6F050256-ABB7-45EC-9AA7-425CC00B5B4A}" destId="{9C9ABAAE-596B-4C81-B27F-A13488B4D0A9}" srcOrd="2" destOrd="0" parTransId="{0FF0C776-B9A6-4B01-83AD-FE984920F17F}" sibTransId="{1BA9A60C-19A6-4E82-B6AB-F071325736FD}"/>
    <dgm:cxn modelId="{2B755EDB-CCD1-4382-9B05-EAF06F4D01C3}" type="presOf" srcId="{DDDDF208-B4E2-46DD-8029-FDAA2AC4E87F}" destId="{D86CBA07-80A2-40FA-BDD3-5F66604E3D21}" srcOrd="0" destOrd="3" presId="urn:microsoft.com/office/officeart/2005/8/layout/hList1"/>
    <dgm:cxn modelId="{6AF19FE6-2941-46FE-A39D-123DE246E902}" srcId="{6F050256-ABB7-45EC-9AA7-425CC00B5B4A}" destId="{64B4E3E2-2C25-4531-B757-51CE380B6CD7}" srcOrd="1" destOrd="0" parTransId="{1676ED09-4949-48D0-B73F-1761AB8AFAC0}" sibTransId="{DDF1F729-6AC4-4990-BA03-D536E5E2065F}"/>
    <dgm:cxn modelId="{9041BCE7-3BF9-4266-98D0-E2989C7D66AD}" srcId="{91742F11-6448-45B3-8C89-854EC5843A1C}" destId="{431DF945-4043-4C8F-B47D-D194BCEBD840}" srcOrd="0" destOrd="0" parTransId="{6BB4496A-7209-4FE8-BE49-04C5B0B1042E}" sibTransId="{BB243AE2-317A-4556-A50D-4BBFE04E1CA9}"/>
    <dgm:cxn modelId="{F710DC6E-0C50-4927-81A2-DE76A99AA192}" type="presParOf" srcId="{35789546-094F-4D31-82A1-942217744629}" destId="{1F46B439-680D-439B-987D-17784B44F904}" srcOrd="0" destOrd="0" presId="urn:microsoft.com/office/officeart/2005/8/layout/hList1"/>
    <dgm:cxn modelId="{E1F923F4-115D-4CB0-8D8D-4B5003B5DA9A}" type="presParOf" srcId="{1F46B439-680D-439B-987D-17784B44F904}" destId="{B23FE057-4A17-4699-A55B-B5C13C297498}" srcOrd="0" destOrd="0" presId="urn:microsoft.com/office/officeart/2005/8/layout/hList1"/>
    <dgm:cxn modelId="{F30F2D08-1AFD-45DD-816B-169E3769D237}" type="presParOf" srcId="{1F46B439-680D-439B-987D-17784B44F904}" destId="{98ADE268-8408-4D3A-B2B5-8C157CA255C1}" srcOrd="1" destOrd="0" presId="urn:microsoft.com/office/officeart/2005/8/layout/hList1"/>
    <dgm:cxn modelId="{42F4A983-5B1B-476A-B26A-89CEF310F09A}" type="presParOf" srcId="{35789546-094F-4D31-82A1-942217744629}" destId="{A1197103-8776-451A-B778-0C96CD3BE444}" srcOrd="1" destOrd="0" presId="urn:microsoft.com/office/officeart/2005/8/layout/hList1"/>
    <dgm:cxn modelId="{9B18BA93-F88C-4312-9B6D-D41C5A14022E}" type="presParOf" srcId="{35789546-094F-4D31-82A1-942217744629}" destId="{08EE1AB5-AE61-43A9-897E-2C17F8D6E5C3}" srcOrd="2" destOrd="0" presId="urn:microsoft.com/office/officeart/2005/8/layout/hList1"/>
    <dgm:cxn modelId="{3178D053-7AF6-4E2E-8613-CF78B611804F}" type="presParOf" srcId="{08EE1AB5-AE61-43A9-897E-2C17F8D6E5C3}" destId="{3B3D8962-D554-442F-B05D-8D6F114307A7}" srcOrd="0" destOrd="0" presId="urn:microsoft.com/office/officeart/2005/8/layout/hList1"/>
    <dgm:cxn modelId="{2AC6785D-99A8-4567-A0A5-62D9AC398332}" type="presParOf" srcId="{08EE1AB5-AE61-43A9-897E-2C17F8D6E5C3}" destId="{D86CBA07-80A2-40FA-BDD3-5F66604E3D2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15BC60F6-E187-49CD-BE03-F75B57E999A6}" type="doc">
      <dgm:prSet loTypeId="urn:microsoft.com/office/officeart/2005/8/layout/radial5" loCatId="cycle" qsTypeId="urn:microsoft.com/office/officeart/2005/8/quickstyle/simple4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6704D29C-11B7-4E1B-9A77-E0E4E2B32517}">
      <dgm:prSet phldrT="[Text]"/>
      <dgm:spPr/>
      <dgm:t>
        <a:bodyPr/>
        <a:lstStyle/>
        <a:p>
          <a:r>
            <a:rPr lang="en-US" dirty="0"/>
            <a:t>Interview Contract Guide (ICG)</a:t>
          </a:r>
        </a:p>
      </dgm:t>
    </dgm:pt>
    <dgm:pt modelId="{ADF69F8D-B715-4885-98DE-6878D5B7E9DE}" type="parTrans" cxnId="{A2ED9038-E519-4384-B08B-34C6D5C00EA3}">
      <dgm:prSet/>
      <dgm:spPr/>
      <dgm:t>
        <a:bodyPr/>
        <a:lstStyle/>
        <a:p>
          <a:endParaRPr lang="en-US"/>
        </a:p>
      </dgm:t>
    </dgm:pt>
    <dgm:pt modelId="{7EB0C113-548C-42C0-9227-AC06CC2674E8}" type="sibTrans" cxnId="{A2ED9038-E519-4384-B08B-34C6D5C00EA3}">
      <dgm:prSet/>
      <dgm:spPr/>
      <dgm:t>
        <a:bodyPr/>
        <a:lstStyle/>
        <a:p>
          <a:endParaRPr lang="en-US"/>
        </a:p>
      </dgm:t>
    </dgm:pt>
    <dgm:pt modelId="{AD523ED4-2780-4D51-BA39-13622A67AB68}">
      <dgm:prSet phldrT="[Text]"/>
      <dgm:spPr/>
      <dgm:t>
        <a:bodyPr/>
        <a:lstStyle/>
        <a:p>
          <a:r>
            <a:rPr lang="en-US" dirty="0"/>
            <a:t>Outlines the interview date, time and location*</a:t>
          </a:r>
        </a:p>
      </dgm:t>
    </dgm:pt>
    <dgm:pt modelId="{183FEE6A-26C3-460B-89AA-02CA9A5A0422}" type="parTrans" cxnId="{98D97D4D-D7DB-412F-A6BC-41BF45B14491}">
      <dgm:prSet/>
      <dgm:spPr/>
      <dgm:t>
        <a:bodyPr/>
        <a:lstStyle/>
        <a:p>
          <a:endParaRPr lang="en-US"/>
        </a:p>
      </dgm:t>
    </dgm:pt>
    <dgm:pt modelId="{D0A7E0FA-84FC-4370-A3D7-983AA267EA89}" type="sibTrans" cxnId="{98D97D4D-D7DB-412F-A6BC-41BF45B14491}">
      <dgm:prSet/>
      <dgm:spPr/>
      <dgm:t>
        <a:bodyPr/>
        <a:lstStyle/>
        <a:p>
          <a:endParaRPr lang="en-US"/>
        </a:p>
      </dgm:t>
    </dgm:pt>
    <dgm:pt modelId="{E50CEB5D-5E6F-45ED-9831-F23CCA13D517}">
      <dgm:prSet phldrT="[Text]"/>
      <dgm:spPr/>
      <dgm:t>
        <a:bodyPr/>
        <a:lstStyle/>
        <a:p>
          <a:r>
            <a:rPr lang="en-US" dirty="0"/>
            <a:t>Outlines the interview structure</a:t>
          </a:r>
        </a:p>
      </dgm:t>
    </dgm:pt>
    <dgm:pt modelId="{DE365C90-BF7B-4552-84FC-CF872452A540}" type="parTrans" cxnId="{EFB04151-4F5A-4E6B-8B4E-F3FE8068E13E}">
      <dgm:prSet/>
      <dgm:spPr/>
      <dgm:t>
        <a:bodyPr/>
        <a:lstStyle/>
        <a:p>
          <a:endParaRPr lang="en-US"/>
        </a:p>
      </dgm:t>
    </dgm:pt>
    <dgm:pt modelId="{58935FDF-6AF4-47ED-B865-14A859A364E3}" type="sibTrans" cxnId="{EFB04151-4F5A-4E6B-8B4E-F3FE8068E13E}">
      <dgm:prSet/>
      <dgm:spPr/>
      <dgm:t>
        <a:bodyPr/>
        <a:lstStyle/>
        <a:p>
          <a:endParaRPr lang="en-US"/>
        </a:p>
      </dgm:t>
    </dgm:pt>
    <dgm:pt modelId="{CD2664B7-01D7-4388-B24C-39D54FC60743}">
      <dgm:prSet phldrT="[Text]"/>
      <dgm:spPr/>
      <dgm:t>
        <a:bodyPr/>
        <a:lstStyle/>
        <a:p>
          <a:r>
            <a:rPr lang="en-US" dirty="0"/>
            <a:t>Includes the interview presentation content paragraph</a:t>
          </a:r>
        </a:p>
      </dgm:t>
    </dgm:pt>
    <dgm:pt modelId="{48B3E43E-D094-4BAD-A8D0-45615544BCBA}" type="parTrans" cxnId="{B78C9D77-0050-4CC4-BD9B-E3AD933FF463}">
      <dgm:prSet/>
      <dgm:spPr/>
      <dgm:t>
        <a:bodyPr/>
        <a:lstStyle/>
        <a:p>
          <a:endParaRPr lang="en-US"/>
        </a:p>
      </dgm:t>
    </dgm:pt>
    <dgm:pt modelId="{EB6D9F13-241D-4AD0-BA08-EB23B2FBDED9}" type="sibTrans" cxnId="{B78C9D77-0050-4CC4-BD9B-E3AD933FF463}">
      <dgm:prSet/>
      <dgm:spPr/>
      <dgm:t>
        <a:bodyPr/>
        <a:lstStyle/>
        <a:p>
          <a:endParaRPr lang="en-US"/>
        </a:p>
      </dgm:t>
    </dgm:pt>
    <dgm:pt modelId="{6DE96419-3273-4580-B28C-0CFA01E46B6A}">
      <dgm:prSet phldrT="[Text]"/>
      <dgm:spPr/>
      <dgm:t>
        <a:bodyPr/>
        <a:lstStyle/>
        <a:p>
          <a:r>
            <a:rPr lang="en-US" dirty="0"/>
            <a:t>Identifies the evaluation criteria</a:t>
          </a:r>
        </a:p>
      </dgm:t>
    </dgm:pt>
    <dgm:pt modelId="{014FEDAD-9A4D-495A-8E99-751383A2549D}" type="parTrans" cxnId="{6D17AD2E-FE13-4E52-AFC3-AE5CA275059B}">
      <dgm:prSet/>
      <dgm:spPr/>
      <dgm:t>
        <a:bodyPr/>
        <a:lstStyle/>
        <a:p>
          <a:endParaRPr lang="en-US"/>
        </a:p>
      </dgm:t>
    </dgm:pt>
    <dgm:pt modelId="{3D15082C-4471-4703-B820-8F1867287DBA}" type="sibTrans" cxnId="{6D17AD2E-FE13-4E52-AFC3-AE5CA275059B}">
      <dgm:prSet/>
      <dgm:spPr/>
      <dgm:t>
        <a:bodyPr/>
        <a:lstStyle/>
        <a:p>
          <a:endParaRPr lang="en-US"/>
        </a:p>
      </dgm:t>
    </dgm:pt>
    <dgm:pt modelId="{B5B66606-B013-4B24-82A4-E210DF23C39D}">
      <dgm:prSet phldrT="[Text]"/>
      <dgm:spPr/>
      <dgm:t>
        <a:bodyPr/>
        <a:lstStyle/>
        <a:p>
          <a:r>
            <a:rPr lang="en-US" dirty="0"/>
            <a:t>Includes Attachment B – Services to be provided by the State</a:t>
          </a:r>
        </a:p>
      </dgm:t>
    </dgm:pt>
    <dgm:pt modelId="{E0362BDF-8AF5-474A-83A1-A6B8967B794F}" type="parTrans" cxnId="{0036EBC4-7A39-4609-9EEA-8D84426543BE}">
      <dgm:prSet/>
      <dgm:spPr/>
      <dgm:t>
        <a:bodyPr/>
        <a:lstStyle/>
        <a:p>
          <a:endParaRPr lang="en-US"/>
        </a:p>
      </dgm:t>
    </dgm:pt>
    <dgm:pt modelId="{9D962748-42BC-43C3-AC23-712FB2C9C2B8}" type="sibTrans" cxnId="{0036EBC4-7A39-4609-9EEA-8D84426543BE}">
      <dgm:prSet/>
      <dgm:spPr/>
      <dgm:t>
        <a:bodyPr/>
        <a:lstStyle/>
        <a:p>
          <a:endParaRPr lang="en-US"/>
        </a:p>
      </dgm:t>
    </dgm:pt>
    <dgm:pt modelId="{CB9B7CA8-2103-4818-837D-69F285C598CF}">
      <dgm:prSet phldrT="[Text]"/>
      <dgm:spPr/>
      <dgm:t>
        <a:bodyPr/>
        <a:lstStyle/>
        <a:p>
          <a:r>
            <a:rPr lang="en-US" dirty="0"/>
            <a:t>Includes Attachment C – Services to be provided by the Engineer</a:t>
          </a:r>
        </a:p>
      </dgm:t>
    </dgm:pt>
    <dgm:pt modelId="{FFFD0BDA-255C-4C6D-B061-D7C1BB547166}" type="parTrans" cxnId="{AD06542E-2D02-496B-8CAB-37EDAA912C8D}">
      <dgm:prSet/>
      <dgm:spPr/>
      <dgm:t>
        <a:bodyPr/>
        <a:lstStyle/>
        <a:p>
          <a:endParaRPr lang="en-US"/>
        </a:p>
      </dgm:t>
    </dgm:pt>
    <dgm:pt modelId="{25681BAB-4A7F-484C-8FDB-C91647579A09}" type="sibTrans" cxnId="{AD06542E-2D02-496B-8CAB-37EDAA912C8D}">
      <dgm:prSet/>
      <dgm:spPr/>
      <dgm:t>
        <a:bodyPr/>
        <a:lstStyle/>
        <a:p>
          <a:endParaRPr lang="en-US"/>
        </a:p>
      </dgm:t>
    </dgm:pt>
    <dgm:pt modelId="{4A30342C-0CBA-4C0F-A030-53DDC6B841BE}" type="pres">
      <dgm:prSet presAssocID="{15BC60F6-E187-49CD-BE03-F75B57E999A6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7B110139-14C4-4D18-A8CF-416155248A9F}" type="pres">
      <dgm:prSet presAssocID="{6704D29C-11B7-4E1B-9A77-E0E4E2B32517}" presName="centerShape" presStyleLbl="node0" presStyleIdx="0" presStyleCnt="1" custScaleX="121000" custScaleY="121000"/>
      <dgm:spPr/>
    </dgm:pt>
    <dgm:pt modelId="{8108BAB6-51D1-41DA-A92A-0DB29F18C8FF}" type="pres">
      <dgm:prSet presAssocID="{183FEE6A-26C3-460B-89AA-02CA9A5A0422}" presName="parTrans" presStyleLbl="sibTrans2D1" presStyleIdx="0" presStyleCnt="6" custAng="10800000"/>
      <dgm:spPr/>
    </dgm:pt>
    <dgm:pt modelId="{56FB28B1-7CD7-4351-88CA-BAEC4F9D201F}" type="pres">
      <dgm:prSet presAssocID="{183FEE6A-26C3-460B-89AA-02CA9A5A0422}" presName="connectorText" presStyleLbl="sibTrans2D1" presStyleIdx="0" presStyleCnt="6"/>
      <dgm:spPr/>
    </dgm:pt>
    <dgm:pt modelId="{757EFE06-4AC3-44F6-BE70-ED76CCB4B848}" type="pres">
      <dgm:prSet presAssocID="{AD523ED4-2780-4D51-BA39-13622A67AB68}" presName="node" presStyleLbl="node1" presStyleIdx="0" presStyleCnt="6">
        <dgm:presLayoutVars>
          <dgm:bulletEnabled val="1"/>
        </dgm:presLayoutVars>
      </dgm:prSet>
      <dgm:spPr/>
    </dgm:pt>
    <dgm:pt modelId="{D9BCD0C3-BADA-455D-9952-BCFA7068F67A}" type="pres">
      <dgm:prSet presAssocID="{DE365C90-BF7B-4552-84FC-CF872452A540}" presName="parTrans" presStyleLbl="sibTrans2D1" presStyleIdx="1" presStyleCnt="6" custAng="10800000"/>
      <dgm:spPr/>
    </dgm:pt>
    <dgm:pt modelId="{376C5349-6769-4B29-97AA-F7C9A337C0B7}" type="pres">
      <dgm:prSet presAssocID="{DE365C90-BF7B-4552-84FC-CF872452A540}" presName="connectorText" presStyleLbl="sibTrans2D1" presStyleIdx="1" presStyleCnt="6"/>
      <dgm:spPr/>
    </dgm:pt>
    <dgm:pt modelId="{41E1B2BE-75D7-44A8-963D-EEF8344639DE}" type="pres">
      <dgm:prSet presAssocID="{E50CEB5D-5E6F-45ED-9831-F23CCA13D517}" presName="node" presStyleLbl="node1" presStyleIdx="1" presStyleCnt="6">
        <dgm:presLayoutVars>
          <dgm:bulletEnabled val="1"/>
        </dgm:presLayoutVars>
      </dgm:prSet>
      <dgm:spPr/>
    </dgm:pt>
    <dgm:pt modelId="{BAF9358C-BA6E-4CE8-A370-C14E6781E32E}" type="pres">
      <dgm:prSet presAssocID="{48B3E43E-D094-4BAD-A8D0-45615544BCBA}" presName="parTrans" presStyleLbl="sibTrans2D1" presStyleIdx="2" presStyleCnt="6" custAng="10740000"/>
      <dgm:spPr/>
    </dgm:pt>
    <dgm:pt modelId="{1CC6E1F2-A772-43CB-870E-B992BD0AEF50}" type="pres">
      <dgm:prSet presAssocID="{48B3E43E-D094-4BAD-A8D0-45615544BCBA}" presName="connectorText" presStyleLbl="sibTrans2D1" presStyleIdx="2" presStyleCnt="6"/>
      <dgm:spPr/>
    </dgm:pt>
    <dgm:pt modelId="{BDAB8EA1-8560-4589-B3C9-3D9BA7BCCB10}" type="pres">
      <dgm:prSet presAssocID="{CD2664B7-01D7-4388-B24C-39D54FC60743}" presName="node" presStyleLbl="node1" presStyleIdx="2" presStyleCnt="6">
        <dgm:presLayoutVars>
          <dgm:bulletEnabled val="1"/>
        </dgm:presLayoutVars>
      </dgm:prSet>
      <dgm:spPr/>
    </dgm:pt>
    <dgm:pt modelId="{9B44AFD3-C119-4C6D-9EC1-518366EB4EBA}" type="pres">
      <dgm:prSet presAssocID="{014FEDAD-9A4D-495A-8E99-751383A2549D}" presName="parTrans" presStyleLbl="sibTrans2D1" presStyleIdx="3" presStyleCnt="6" custAng="10800000"/>
      <dgm:spPr/>
    </dgm:pt>
    <dgm:pt modelId="{47A5F829-C121-4FE9-B6A3-0D5F281B99E0}" type="pres">
      <dgm:prSet presAssocID="{014FEDAD-9A4D-495A-8E99-751383A2549D}" presName="connectorText" presStyleLbl="sibTrans2D1" presStyleIdx="3" presStyleCnt="6"/>
      <dgm:spPr/>
    </dgm:pt>
    <dgm:pt modelId="{8154AE83-FCD7-4DCC-84AD-F8314D1C9042}" type="pres">
      <dgm:prSet presAssocID="{6DE96419-3273-4580-B28C-0CFA01E46B6A}" presName="node" presStyleLbl="node1" presStyleIdx="3" presStyleCnt="6">
        <dgm:presLayoutVars>
          <dgm:bulletEnabled val="1"/>
        </dgm:presLayoutVars>
      </dgm:prSet>
      <dgm:spPr/>
    </dgm:pt>
    <dgm:pt modelId="{F8E5CF0F-1DB9-4852-9788-D6C326BD42A7}" type="pres">
      <dgm:prSet presAssocID="{E0362BDF-8AF5-474A-83A1-A6B8967B794F}" presName="parTrans" presStyleLbl="sibTrans2D1" presStyleIdx="4" presStyleCnt="6" custAng="10440000"/>
      <dgm:spPr/>
    </dgm:pt>
    <dgm:pt modelId="{AA2680C5-20D6-45A5-89B8-84D9DCB9A2C6}" type="pres">
      <dgm:prSet presAssocID="{E0362BDF-8AF5-474A-83A1-A6B8967B794F}" presName="connectorText" presStyleLbl="sibTrans2D1" presStyleIdx="4" presStyleCnt="6"/>
      <dgm:spPr/>
    </dgm:pt>
    <dgm:pt modelId="{BB7FE920-BD78-4D46-A3C8-867CEE5BD367}" type="pres">
      <dgm:prSet presAssocID="{B5B66606-B013-4B24-82A4-E210DF23C39D}" presName="node" presStyleLbl="node1" presStyleIdx="4" presStyleCnt="6">
        <dgm:presLayoutVars>
          <dgm:bulletEnabled val="1"/>
        </dgm:presLayoutVars>
      </dgm:prSet>
      <dgm:spPr/>
    </dgm:pt>
    <dgm:pt modelId="{471A388A-8B36-49F6-9E6D-25F5C16913A3}" type="pres">
      <dgm:prSet presAssocID="{FFFD0BDA-255C-4C6D-B061-D7C1BB547166}" presName="parTrans" presStyleLbl="sibTrans2D1" presStyleIdx="5" presStyleCnt="6" custAng="10440000"/>
      <dgm:spPr/>
    </dgm:pt>
    <dgm:pt modelId="{01F09182-A454-4CD3-A254-680078222909}" type="pres">
      <dgm:prSet presAssocID="{FFFD0BDA-255C-4C6D-B061-D7C1BB547166}" presName="connectorText" presStyleLbl="sibTrans2D1" presStyleIdx="5" presStyleCnt="6"/>
      <dgm:spPr/>
    </dgm:pt>
    <dgm:pt modelId="{1E836A5F-B47B-4B55-A77F-389CDA18E703}" type="pres">
      <dgm:prSet presAssocID="{CB9B7CA8-2103-4818-837D-69F285C598CF}" presName="node" presStyleLbl="node1" presStyleIdx="5" presStyleCnt="6">
        <dgm:presLayoutVars>
          <dgm:bulletEnabled val="1"/>
        </dgm:presLayoutVars>
      </dgm:prSet>
      <dgm:spPr/>
    </dgm:pt>
  </dgm:ptLst>
  <dgm:cxnLst>
    <dgm:cxn modelId="{B106A20C-C005-4D24-91B5-70D5DEDFC833}" type="presOf" srcId="{AD523ED4-2780-4D51-BA39-13622A67AB68}" destId="{757EFE06-4AC3-44F6-BE70-ED76CCB4B848}" srcOrd="0" destOrd="0" presId="urn:microsoft.com/office/officeart/2005/8/layout/radial5"/>
    <dgm:cxn modelId="{17B50516-83E3-4525-A52A-3DD08FDC62CB}" type="presOf" srcId="{FFFD0BDA-255C-4C6D-B061-D7C1BB547166}" destId="{01F09182-A454-4CD3-A254-680078222909}" srcOrd="1" destOrd="0" presId="urn:microsoft.com/office/officeart/2005/8/layout/radial5"/>
    <dgm:cxn modelId="{932DD51E-79EC-4245-AB09-64B7312DD8C5}" type="presOf" srcId="{6704D29C-11B7-4E1B-9A77-E0E4E2B32517}" destId="{7B110139-14C4-4D18-A8CF-416155248A9F}" srcOrd="0" destOrd="0" presId="urn:microsoft.com/office/officeart/2005/8/layout/radial5"/>
    <dgm:cxn modelId="{911E2D20-BC64-4E4A-90B8-CB5C0327162F}" type="presOf" srcId="{DE365C90-BF7B-4552-84FC-CF872452A540}" destId="{D9BCD0C3-BADA-455D-9952-BCFA7068F67A}" srcOrd="0" destOrd="0" presId="urn:microsoft.com/office/officeart/2005/8/layout/radial5"/>
    <dgm:cxn modelId="{8CD76224-66DC-4ECA-9725-ED997B1D4F23}" type="presOf" srcId="{CD2664B7-01D7-4388-B24C-39D54FC60743}" destId="{BDAB8EA1-8560-4589-B3C9-3D9BA7BCCB10}" srcOrd="0" destOrd="0" presId="urn:microsoft.com/office/officeart/2005/8/layout/radial5"/>
    <dgm:cxn modelId="{AD06542E-2D02-496B-8CAB-37EDAA912C8D}" srcId="{6704D29C-11B7-4E1B-9A77-E0E4E2B32517}" destId="{CB9B7CA8-2103-4818-837D-69F285C598CF}" srcOrd="5" destOrd="0" parTransId="{FFFD0BDA-255C-4C6D-B061-D7C1BB547166}" sibTransId="{25681BAB-4A7F-484C-8FDB-C91647579A09}"/>
    <dgm:cxn modelId="{6D17AD2E-FE13-4E52-AFC3-AE5CA275059B}" srcId="{6704D29C-11B7-4E1B-9A77-E0E4E2B32517}" destId="{6DE96419-3273-4580-B28C-0CFA01E46B6A}" srcOrd="3" destOrd="0" parTransId="{014FEDAD-9A4D-495A-8E99-751383A2549D}" sibTransId="{3D15082C-4471-4703-B820-8F1867287DBA}"/>
    <dgm:cxn modelId="{A2ED9038-E519-4384-B08B-34C6D5C00EA3}" srcId="{15BC60F6-E187-49CD-BE03-F75B57E999A6}" destId="{6704D29C-11B7-4E1B-9A77-E0E4E2B32517}" srcOrd="0" destOrd="0" parTransId="{ADF69F8D-B715-4885-98DE-6878D5B7E9DE}" sibTransId="{7EB0C113-548C-42C0-9227-AC06CC2674E8}"/>
    <dgm:cxn modelId="{BC7B3240-1757-4C14-BEDE-F7A8BA393BC8}" type="presOf" srcId="{CB9B7CA8-2103-4818-837D-69F285C598CF}" destId="{1E836A5F-B47B-4B55-A77F-389CDA18E703}" srcOrd="0" destOrd="0" presId="urn:microsoft.com/office/officeart/2005/8/layout/radial5"/>
    <dgm:cxn modelId="{3032BC66-DEE3-48B5-B947-215FA7C023E3}" type="presOf" srcId="{183FEE6A-26C3-460B-89AA-02CA9A5A0422}" destId="{8108BAB6-51D1-41DA-A92A-0DB29F18C8FF}" srcOrd="0" destOrd="0" presId="urn:microsoft.com/office/officeart/2005/8/layout/radial5"/>
    <dgm:cxn modelId="{F5EFAE49-1B26-4121-ACE9-F4F4C134CB90}" type="presOf" srcId="{DE365C90-BF7B-4552-84FC-CF872452A540}" destId="{376C5349-6769-4B29-97AA-F7C9A337C0B7}" srcOrd="1" destOrd="0" presId="urn:microsoft.com/office/officeart/2005/8/layout/radial5"/>
    <dgm:cxn modelId="{98D97D4D-D7DB-412F-A6BC-41BF45B14491}" srcId="{6704D29C-11B7-4E1B-9A77-E0E4E2B32517}" destId="{AD523ED4-2780-4D51-BA39-13622A67AB68}" srcOrd="0" destOrd="0" parTransId="{183FEE6A-26C3-460B-89AA-02CA9A5A0422}" sibTransId="{D0A7E0FA-84FC-4370-A3D7-983AA267EA89}"/>
    <dgm:cxn modelId="{EFB04151-4F5A-4E6B-8B4E-F3FE8068E13E}" srcId="{6704D29C-11B7-4E1B-9A77-E0E4E2B32517}" destId="{E50CEB5D-5E6F-45ED-9831-F23CCA13D517}" srcOrd="1" destOrd="0" parTransId="{DE365C90-BF7B-4552-84FC-CF872452A540}" sibTransId="{58935FDF-6AF4-47ED-B865-14A859A364E3}"/>
    <dgm:cxn modelId="{B78C9D77-0050-4CC4-BD9B-E3AD933FF463}" srcId="{6704D29C-11B7-4E1B-9A77-E0E4E2B32517}" destId="{CD2664B7-01D7-4388-B24C-39D54FC60743}" srcOrd="2" destOrd="0" parTransId="{48B3E43E-D094-4BAD-A8D0-45615544BCBA}" sibTransId="{EB6D9F13-241D-4AD0-BA08-EB23B2FBDED9}"/>
    <dgm:cxn modelId="{0DBA247C-A1C7-4351-865C-66A58BC0A2C0}" type="presOf" srcId="{15BC60F6-E187-49CD-BE03-F75B57E999A6}" destId="{4A30342C-0CBA-4C0F-A030-53DDC6B841BE}" srcOrd="0" destOrd="0" presId="urn:microsoft.com/office/officeart/2005/8/layout/radial5"/>
    <dgm:cxn modelId="{75707683-4E1C-4956-BB9D-D8BAF5976635}" type="presOf" srcId="{B5B66606-B013-4B24-82A4-E210DF23C39D}" destId="{BB7FE920-BD78-4D46-A3C8-867CEE5BD367}" srcOrd="0" destOrd="0" presId="urn:microsoft.com/office/officeart/2005/8/layout/radial5"/>
    <dgm:cxn modelId="{381A3F98-132C-4FE8-8582-45D843AE8BE3}" type="presOf" srcId="{014FEDAD-9A4D-495A-8E99-751383A2549D}" destId="{9B44AFD3-C119-4C6D-9EC1-518366EB4EBA}" srcOrd="0" destOrd="0" presId="urn:microsoft.com/office/officeart/2005/8/layout/radial5"/>
    <dgm:cxn modelId="{222027AE-52C3-4C28-BE63-21F5177B2698}" type="presOf" srcId="{FFFD0BDA-255C-4C6D-B061-D7C1BB547166}" destId="{471A388A-8B36-49F6-9E6D-25F5C16913A3}" srcOrd="0" destOrd="0" presId="urn:microsoft.com/office/officeart/2005/8/layout/radial5"/>
    <dgm:cxn modelId="{0036EBC4-7A39-4609-9EEA-8D84426543BE}" srcId="{6704D29C-11B7-4E1B-9A77-E0E4E2B32517}" destId="{B5B66606-B013-4B24-82A4-E210DF23C39D}" srcOrd="4" destOrd="0" parTransId="{E0362BDF-8AF5-474A-83A1-A6B8967B794F}" sibTransId="{9D962748-42BC-43C3-AC23-712FB2C9C2B8}"/>
    <dgm:cxn modelId="{8CEC71C5-7DD7-4A26-91B9-5C4BC1E57B2F}" type="presOf" srcId="{6DE96419-3273-4580-B28C-0CFA01E46B6A}" destId="{8154AE83-FCD7-4DCC-84AD-F8314D1C9042}" srcOrd="0" destOrd="0" presId="urn:microsoft.com/office/officeart/2005/8/layout/radial5"/>
    <dgm:cxn modelId="{BC45DFC5-2645-454A-91FE-59FAB6A79C8F}" type="presOf" srcId="{183FEE6A-26C3-460B-89AA-02CA9A5A0422}" destId="{56FB28B1-7CD7-4351-88CA-BAEC4F9D201F}" srcOrd="1" destOrd="0" presId="urn:microsoft.com/office/officeart/2005/8/layout/radial5"/>
    <dgm:cxn modelId="{E0816ED6-08F0-4006-9AE1-8573D4A1981A}" type="presOf" srcId="{E50CEB5D-5E6F-45ED-9831-F23CCA13D517}" destId="{41E1B2BE-75D7-44A8-963D-EEF8344639DE}" srcOrd="0" destOrd="0" presId="urn:microsoft.com/office/officeart/2005/8/layout/radial5"/>
    <dgm:cxn modelId="{F28F28DE-D1B5-4F6D-9948-2A682F303A10}" type="presOf" srcId="{48B3E43E-D094-4BAD-A8D0-45615544BCBA}" destId="{1CC6E1F2-A772-43CB-870E-B992BD0AEF50}" srcOrd="1" destOrd="0" presId="urn:microsoft.com/office/officeart/2005/8/layout/radial5"/>
    <dgm:cxn modelId="{53EA4BE9-FB0D-47A3-A65B-10CF622A5366}" type="presOf" srcId="{E0362BDF-8AF5-474A-83A1-A6B8967B794F}" destId="{AA2680C5-20D6-45A5-89B8-84D9DCB9A2C6}" srcOrd="1" destOrd="0" presId="urn:microsoft.com/office/officeart/2005/8/layout/radial5"/>
    <dgm:cxn modelId="{F09FC1F1-8702-4FCD-B3E6-B10DA744E430}" type="presOf" srcId="{014FEDAD-9A4D-495A-8E99-751383A2549D}" destId="{47A5F829-C121-4FE9-B6A3-0D5F281B99E0}" srcOrd="1" destOrd="0" presId="urn:microsoft.com/office/officeart/2005/8/layout/radial5"/>
    <dgm:cxn modelId="{4FEB14FB-ACC9-497E-981E-BE3568EA8DD5}" type="presOf" srcId="{E0362BDF-8AF5-474A-83A1-A6B8967B794F}" destId="{F8E5CF0F-1DB9-4852-9788-D6C326BD42A7}" srcOrd="0" destOrd="0" presId="urn:microsoft.com/office/officeart/2005/8/layout/radial5"/>
    <dgm:cxn modelId="{952322FC-7E75-4D5E-88D8-BD00381376E0}" type="presOf" srcId="{48B3E43E-D094-4BAD-A8D0-45615544BCBA}" destId="{BAF9358C-BA6E-4CE8-A370-C14E6781E32E}" srcOrd="0" destOrd="0" presId="urn:microsoft.com/office/officeart/2005/8/layout/radial5"/>
    <dgm:cxn modelId="{339E5FDE-4919-4476-8051-3CA3A0DFA242}" type="presParOf" srcId="{4A30342C-0CBA-4C0F-A030-53DDC6B841BE}" destId="{7B110139-14C4-4D18-A8CF-416155248A9F}" srcOrd="0" destOrd="0" presId="urn:microsoft.com/office/officeart/2005/8/layout/radial5"/>
    <dgm:cxn modelId="{E6972DA1-B397-40F5-AB4B-F161C89BD9F2}" type="presParOf" srcId="{4A30342C-0CBA-4C0F-A030-53DDC6B841BE}" destId="{8108BAB6-51D1-41DA-A92A-0DB29F18C8FF}" srcOrd="1" destOrd="0" presId="urn:microsoft.com/office/officeart/2005/8/layout/radial5"/>
    <dgm:cxn modelId="{48F9CCFB-1F84-435A-AD79-7791401CD3EA}" type="presParOf" srcId="{8108BAB6-51D1-41DA-A92A-0DB29F18C8FF}" destId="{56FB28B1-7CD7-4351-88CA-BAEC4F9D201F}" srcOrd="0" destOrd="0" presId="urn:microsoft.com/office/officeart/2005/8/layout/radial5"/>
    <dgm:cxn modelId="{5049231B-4CCF-4DB1-96C3-1245955B4359}" type="presParOf" srcId="{4A30342C-0CBA-4C0F-A030-53DDC6B841BE}" destId="{757EFE06-4AC3-44F6-BE70-ED76CCB4B848}" srcOrd="2" destOrd="0" presId="urn:microsoft.com/office/officeart/2005/8/layout/radial5"/>
    <dgm:cxn modelId="{522C9D25-7F44-40F8-9A3D-073368B07007}" type="presParOf" srcId="{4A30342C-0CBA-4C0F-A030-53DDC6B841BE}" destId="{D9BCD0C3-BADA-455D-9952-BCFA7068F67A}" srcOrd="3" destOrd="0" presId="urn:microsoft.com/office/officeart/2005/8/layout/radial5"/>
    <dgm:cxn modelId="{AC492907-EFEF-416B-B7E9-673EAD20BCA4}" type="presParOf" srcId="{D9BCD0C3-BADA-455D-9952-BCFA7068F67A}" destId="{376C5349-6769-4B29-97AA-F7C9A337C0B7}" srcOrd="0" destOrd="0" presId="urn:microsoft.com/office/officeart/2005/8/layout/radial5"/>
    <dgm:cxn modelId="{1F1A92AF-4E30-422B-978E-586DDC70612E}" type="presParOf" srcId="{4A30342C-0CBA-4C0F-A030-53DDC6B841BE}" destId="{41E1B2BE-75D7-44A8-963D-EEF8344639DE}" srcOrd="4" destOrd="0" presId="urn:microsoft.com/office/officeart/2005/8/layout/radial5"/>
    <dgm:cxn modelId="{475737AC-55B1-43A8-94C2-B74A9ABBEF2A}" type="presParOf" srcId="{4A30342C-0CBA-4C0F-A030-53DDC6B841BE}" destId="{BAF9358C-BA6E-4CE8-A370-C14E6781E32E}" srcOrd="5" destOrd="0" presId="urn:microsoft.com/office/officeart/2005/8/layout/radial5"/>
    <dgm:cxn modelId="{45BF9C50-70E8-4121-A508-1060B91A3C4A}" type="presParOf" srcId="{BAF9358C-BA6E-4CE8-A370-C14E6781E32E}" destId="{1CC6E1F2-A772-43CB-870E-B992BD0AEF50}" srcOrd="0" destOrd="0" presId="urn:microsoft.com/office/officeart/2005/8/layout/radial5"/>
    <dgm:cxn modelId="{35E02533-0472-4B02-A1AA-322A0D6CF904}" type="presParOf" srcId="{4A30342C-0CBA-4C0F-A030-53DDC6B841BE}" destId="{BDAB8EA1-8560-4589-B3C9-3D9BA7BCCB10}" srcOrd="6" destOrd="0" presId="urn:microsoft.com/office/officeart/2005/8/layout/radial5"/>
    <dgm:cxn modelId="{F94B3D52-C06D-42DA-9F20-CD285E9EFEB8}" type="presParOf" srcId="{4A30342C-0CBA-4C0F-A030-53DDC6B841BE}" destId="{9B44AFD3-C119-4C6D-9EC1-518366EB4EBA}" srcOrd="7" destOrd="0" presId="urn:microsoft.com/office/officeart/2005/8/layout/radial5"/>
    <dgm:cxn modelId="{6CFE37EC-37BD-4A65-95F7-CE222E9D1BB9}" type="presParOf" srcId="{9B44AFD3-C119-4C6D-9EC1-518366EB4EBA}" destId="{47A5F829-C121-4FE9-B6A3-0D5F281B99E0}" srcOrd="0" destOrd="0" presId="urn:microsoft.com/office/officeart/2005/8/layout/radial5"/>
    <dgm:cxn modelId="{72506881-9511-4918-97F9-EA13CC589567}" type="presParOf" srcId="{4A30342C-0CBA-4C0F-A030-53DDC6B841BE}" destId="{8154AE83-FCD7-4DCC-84AD-F8314D1C9042}" srcOrd="8" destOrd="0" presId="urn:microsoft.com/office/officeart/2005/8/layout/radial5"/>
    <dgm:cxn modelId="{2C8F7853-5A43-4533-8C81-2B979F8027BB}" type="presParOf" srcId="{4A30342C-0CBA-4C0F-A030-53DDC6B841BE}" destId="{F8E5CF0F-1DB9-4852-9788-D6C326BD42A7}" srcOrd="9" destOrd="0" presId="urn:microsoft.com/office/officeart/2005/8/layout/radial5"/>
    <dgm:cxn modelId="{080997EB-08B0-4C54-B473-F62EA3AC62FF}" type="presParOf" srcId="{F8E5CF0F-1DB9-4852-9788-D6C326BD42A7}" destId="{AA2680C5-20D6-45A5-89B8-84D9DCB9A2C6}" srcOrd="0" destOrd="0" presId="urn:microsoft.com/office/officeart/2005/8/layout/radial5"/>
    <dgm:cxn modelId="{3BBE4425-BA5C-4469-B30A-497450894B66}" type="presParOf" srcId="{4A30342C-0CBA-4C0F-A030-53DDC6B841BE}" destId="{BB7FE920-BD78-4D46-A3C8-867CEE5BD367}" srcOrd="10" destOrd="0" presId="urn:microsoft.com/office/officeart/2005/8/layout/radial5"/>
    <dgm:cxn modelId="{7FA06DFE-6EEF-49F8-BD83-1010D9C8C095}" type="presParOf" srcId="{4A30342C-0CBA-4C0F-A030-53DDC6B841BE}" destId="{471A388A-8B36-49F6-9E6D-25F5C16913A3}" srcOrd="11" destOrd="0" presId="urn:microsoft.com/office/officeart/2005/8/layout/radial5"/>
    <dgm:cxn modelId="{893A3F63-FE0D-42C1-A293-80B4E1ABD17B}" type="presParOf" srcId="{471A388A-8B36-49F6-9E6D-25F5C16913A3}" destId="{01F09182-A454-4CD3-A254-680078222909}" srcOrd="0" destOrd="0" presId="urn:microsoft.com/office/officeart/2005/8/layout/radial5"/>
    <dgm:cxn modelId="{AAED0411-5C4F-477B-B66E-303FE372C7F3}" type="presParOf" srcId="{4A30342C-0CBA-4C0F-A030-53DDC6B841BE}" destId="{1E836A5F-B47B-4B55-A77F-389CDA18E703}" srcOrd="12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E22428A7-D06B-45DC-8BE2-9EC6E7517484}" type="doc">
      <dgm:prSet loTypeId="urn:microsoft.com/office/officeart/2005/8/layout/hList9" loCatId="list" qsTypeId="urn:microsoft.com/office/officeart/2005/8/quickstyle/simple4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0B16726C-A5B2-4D34-8528-C2F41079A029}">
      <dgm:prSet phldrT="[Text]"/>
      <dgm:spPr>
        <a:xfrm>
          <a:off x="136090" y="190"/>
          <a:ext cx="838984" cy="838984"/>
        </a:xfrm>
        <a:prstGeom prst="ellipse">
          <a:avLst/>
        </a:prstGeom>
        <a:solidFill>
          <a:srgbClr val="3869A2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gm:spPr>
      <dgm:t>
        <a:bodyPr/>
        <a:lstStyle/>
        <a:p>
          <a:pPr>
            <a:buNone/>
          </a:pPr>
          <a:r>
            <a:rPr lang="en-US" dirty="0">
              <a:solidFill>
                <a:srgbClr val="FFFFFF"/>
              </a:solidFill>
              <a:latin typeface="Arial"/>
              <a:ea typeface="+mn-ea"/>
              <a:cs typeface="+mn-cs"/>
            </a:rPr>
            <a:t>Typical Interview Process</a:t>
          </a:r>
        </a:p>
      </dgm:t>
    </dgm:pt>
    <dgm:pt modelId="{43187756-DA32-4C16-B8A0-6FEF294B98F9}" type="parTrans" cxnId="{F942CAD6-6084-4A4C-A756-E69408EBF4DB}">
      <dgm:prSet/>
      <dgm:spPr/>
      <dgm:t>
        <a:bodyPr/>
        <a:lstStyle/>
        <a:p>
          <a:endParaRPr lang="en-US"/>
        </a:p>
      </dgm:t>
    </dgm:pt>
    <dgm:pt modelId="{6B38FADC-7AAC-4FD9-A3D6-8BEF6F435C4B}" type="sibTrans" cxnId="{F942CAD6-6084-4A4C-A756-E69408EBF4DB}">
      <dgm:prSet/>
      <dgm:spPr/>
      <dgm:t>
        <a:bodyPr/>
        <a:lstStyle/>
        <a:p>
          <a:endParaRPr lang="en-US"/>
        </a:p>
      </dgm:t>
    </dgm:pt>
    <dgm:pt modelId="{0337EAA4-DE15-489E-8775-1B2A5FEC2E4D}">
      <dgm:prSet phldrT="[Text]" custT="1"/>
      <dgm:spPr>
        <a:xfrm>
          <a:off x="561523" y="108380"/>
          <a:ext cx="3264158" cy="763094"/>
        </a:xfrm>
        <a:prstGeom prst="rect">
          <a:avLst/>
        </a:prstGeom>
        <a:solidFill>
          <a:srgbClr val="0F3859">
            <a:tint val="40000"/>
            <a:alpha val="9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0F3859">
              <a:tint val="40000"/>
              <a:alpha val="9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en-US" sz="11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TxDOT Introductions / TxDOT Instructions</a:t>
          </a:r>
        </a:p>
      </dgm:t>
    </dgm:pt>
    <dgm:pt modelId="{03F6CB55-1E1C-4134-9AF8-3A54D6E7A796}" type="parTrans" cxnId="{97964690-9E0A-4A6A-9214-C93F8550EAC1}">
      <dgm:prSet/>
      <dgm:spPr/>
      <dgm:t>
        <a:bodyPr/>
        <a:lstStyle/>
        <a:p>
          <a:endParaRPr lang="en-US"/>
        </a:p>
      </dgm:t>
    </dgm:pt>
    <dgm:pt modelId="{B6EC7AF1-C722-4858-B7A9-2F8F1D9AC1A4}" type="sibTrans" cxnId="{97964690-9E0A-4A6A-9214-C93F8550EAC1}">
      <dgm:prSet/>
      <dgm:spPr/>
      <dgm:t>
        <a:bodyPr/>
        <a:lstStyle/>
        <a:p>
          <a:endParaRPr lang="en-US"/>
        </a:p>
      </dgm:t>
    </dgm:pt>
    <dgm:pt modelId="{23E48842-4B32-40C0-BF16-CE64C38B60FF}">
      <dgm:prSet phldrT="[Text]" custT="1"/>
      <dgm:spPr>
        <a:xfrm>
          <a:off x="561523" y="1634569"/>
          <a:ext cx="3264158" cy="763094"/>
        </a:xfrm>
        <a:prstGeom prst="rect">
          <a:avLst/>
        </a:prstGeom>
        <a:solidFill>
          <a:srgbClr val="F4BC46">
            <a:tint val="40000"/>
            <a:alpha val="9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F4BC46">
              <a:tint val="40000"/>
              <a:alpha val="9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en-US" sz="11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CST Break</a:t>
          </a:r>
        </a:p>
      </dgm:t>
    </dgm:pt>
    <dgm:pt modelId="{C3CBCD67-1593-4DEB-A338-3B57938057FD}" type="parTrans" cxnId="{6A0BD0C7-87F7-444A-8303-4FDBF4E30F3C}">
      <dgm:prSet/>
      <dgm:spPr/>
      <dgm:t>
        <a:bodyPr/>
        <a:lstStyle/>
        <a:p>
          <a:endParaRPr lang="en-US"/>
        </a:p>
      </dgm:t>
    </dgm:pt>
    <dgm:pt modelId="{949B5A7F-CB24-4F38-9452-6A185A761B34}" type="sibTrans" cxnId="{6A0BD0C7-87F7-444A-8303-4FDBF4E30F3C}">
      <dgm:prSet/>
      <dgm:spPr/>
      <dgm:t>
        <a:bodyPr/>
        <a:lstStyle/>
        <a:p>
          <a:endParaRPr lang="en-US"/>
        </a:p>
      </dgm:t>
    </dgm:pt>
    <dgm:pt modelId="{DA0B78FF-A930-4116-A6C0-A63A8B92AB15}">
      <dgm:prSet phldrT="[Text]" custT="1"/>
      <dgm:spPr>
        <a:xfrm>
          <a:off x="561523" y="871474"/>
          <a:ext cx="3264158" cy="763094"/>
        </a:xfrm>
        <a:prstGeom prst="rect">
          <a:avLst/>
        </a:prstGeom>
        <a:solidFill>
          <a:srgbClr val="CC7B28">
            <a:tint val="40000"/>
            <a:alpha val="9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CC7B28">
              <a:tint val="40000"/>
              <a:alpha val="9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en-US" sz="11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Consultants begin with a presentation based on the interview content paragraph and scoring criteria percentages they are provided in the ICG</a:t>
          </a:r>
        </a:p>
      </dgm:t>
    </dgm:pt>
    <dgm:pt modelId="{80DDE693-851B-4BA0-B53A-F9E37D23CC9D}" type="parTrans" cxnId="{4D63ABD6-0656-4BF4-AE9C-66507BC9B7C9}">
      <dgm:prSet/>
      <dgm:spPr/>
      <dgm:t>
        <a:bodyPr/>
        <a:lstStyle/>
        <a:p>
          <a:endParaRPr lang="en-US"/>
        </a:p>
      </dgm:t>
    </dgm:pt>
    <dgm:pt modelId="{57347D9C-ABF3-46C2-8962-5BF9DA557B24}" type="sibTrans" cxnId="{4D63ABD6-0656-4BF4-AE9C-66507BC9B7C9}">
      <dgm:prSet/>
      <dgm:spPr/>
      <dgm:t>
        <a:bodyPr/>
        <a:lstStyle/>
        <a:p>
          <a:endParaRPr lang="en-US"/>
        </a:p>
      </dgm:t>
    </dgm:pt>
    <dgm:pt modelId="{414C4730-6C9C-4C22-9344-E54DBB4C57E3}">
      <dgm:prSet phldrT="[Text]" custT="1"/>
      <dgm:spPr>
        <a:xfrm>
          <a:off x="561523" y="2397664"/>
          <a:ext cx="3264158" cy="763094"/>
        </a:xfrm>
        <a:prstGeom prst="rect">
          <a:avLst/>
        </a:prstGeom>
        <a:solidFill>
          <a:srgbClr val="79A03F">
            <a:tint val="40000"/>
            <a:alpha val="9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79A03F">
              <a:tint val="40000"/>
              <a:alpha val="9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en-US" sz="11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Consultant Response in Q&amp;A Session</a:t>
          </a:r>
        </a:p>
      </dgm:t>
    </dgm:pt>
    <dgm:pt modelId="{901E2745-CB6F-4F88-A330-3FE4F311B2BD}" type="parTrans" cxnId="{8A7F571C-D66A-47FA-A9C7-BA382426ED6D}">
      <dgm:prSet/>
      <dgm:spPr/>
      <dgm:t>
        <a:bodyPr/>
        <a:lstStyle/>
        <a:p>
          <a:endParaRPr lang="en-US"/>
        </a:p>
      </dgm:t>
    </dgm:pt>
    <dgm:pt modelId="{83E6ABF9-0C05-41C0-AE8E-1629BACF1512}" type="sibTrans" cxnId="{8A7F571C-D66A-47FA-A9C7-BA382426ED6D}">
      <dgm:prSet/>
      <dgm:spPr/>
      <dgm:t>
        <a:bodyPr/>
        <a:lstStyle/>
        <a:p>
          <a:endParaRPr lang="en-US"/>
        </a:p>
      </dgm:t>
    </dgm:pt>
    <dgm:pt modelId="{ACF68DC5-1BA2-4291-AD7F-136E7FC05B60}">
      <dgm:prSet phldrT="[Text]" custT="1"/>
      <dgm:spPr>
        <a:xfrm>
          <a:off x="561523" y="1634569"/>
          <a:ext cx="3264158" cy="763094"/>
        </a:xfrm>
        <a:prstGeom prst="rect">
          <a:avLst/>
        </a:prstGeom>
        <a:solidFill>
          <a:srgbClr val="F4BC46">
            <a:tint val="40000"/>
            <a:alpha val="9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F4BC46">
              <a:tint val="40000"/>
              <a:alpha val="9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Char char="•"/>
          </a:pPr>
          <a:r>
            <a:rPr lang="en-US" sz="11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Follow-up question development</a:t>
          </a:r>
        </a:p>
      </dgm:t>
    </dgm:pt>
    <dgm:pt modelId="{70DE0231-6C82-4091-AA3F-5B526C9413EC}" type="parTrans" cxnId="{2EB1C61B-F681-4915-BA5B-FBCEA1CC7C74}">
      <dgm:prSet/>
      <dgm:spPr/>
      <dgm:t>
        <a:bodyPr/>
        <a:lstStyle/>
        <a:p>
          <a:endParaRPr lang="en-US"/>
        </a:p>
      </dgm:t>
    </dgm:pt>
    <dgm:pt modelId="{FD46E755-4856-4F2A-BA91-70624DAAF36C}" type="sibTrans" cxnId="{2EB1C61B-F681-4915-BA5B-FBCEA1CC7C74}">
      <dgm:prSet/>
      <dgm:spPr/>
      <dgm:t>
        <a:bodyPr/>
        <a:lstStyle/>
        <a:p>
          <a:endParaRPr lang="en-US"/>
        </a:p>
      </dgm:t>
    </dgm:pt>
    <dgm:pt modelId="{1039E28B-5EED-4AB6-B49C-664022C1283F}">
      <dgm:prSet phldrT="[Text]" custT="1"/>
      <dgm:spPr>
        <a:xfrm>
          <a:off x="561523" y="3160759"/>
          <a:ext cx="3264158" cy="763094"/>
        </a:xfrm>
        <a:prstGeom prst="rect">
          <a:avLst/>
        </a:prstGeom>
        <a:solidFill>
          <a:srgbClr val="247F74">
            <a:tint val="40000"/>
            <a:alpha val="9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247F74">
              <a:tint val="40000"/>
              <a:alpha val="9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en-US" sz="11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TxDOT Concluding Remarks</a:t>
          </a:r>
        </a:p>
      </dgm:t>
    </dgm:pt>
    <dgm:pt modelId="{B877B103-00D6-4B48-B704-FB9A58EABBD5}" type="parTrans" cxnId="{249D5E70-99E3-4C9B-8E91-498FF898B0EF}">
      <dgm:prSet/>
      <dgm:spPr/>
      <dgm:t>
        <a:bodyPr/>
        <a:lstStyle/>
        <a:p>
          <a:endParaRPr lang="en-US"/>
        </a:p>
      </dgm:t>
    </dgm:pt>
    <dgm:pt modelId="{A84E7A06-CADC-4C54-94CD-E17E68D484A3}" type="sibTrans" cxnId="{249D5E70-99E3-4C9B-8E91-498FF898B0EF}">
      <dgm:prSet/>
      <dgm:spPr/>
      <dgm:t>
        <a:bodyPr/>
        <a:lstStyle/>
        <a:p>
          <a:endParaRPr lang="en-US"/>
        </a:p>
      </dgm:t>
    </dgm:pt>
    <dgm:pt modelId="{B659B5C0-FBEE-4A7B-A85A-E123BBF062A2}" type="pres">
      <dgm:prSet presAssocID="{E22428A7-D06B-45DC-8BE2-9EC6E7517484}" presName="list" presStyleCnt="0">
        <dgm:presLayoutVars>
          <dgm:dir/>
          <dgm:animLvl val="lvl"/>
        </dgm:presLayoutVars>
      </dgm:prSet>
      <dgm:spPr/>
    </dgm:pt>
    <dgm:pt modelId="{62A26C26-DE12-4898-A419-25E23072FE23}" type="pres">
      <dgm:prSet presAssocID="{0B16726C-A5B2-4D34-8528-C2F41079A029}" presName="posSpace" presStyleCnt="0"/>
      <dgm:spPr/>
    </dgm:pt>
    <dgm:pt modelId="{0FD4D64B-CCB0-4163-B2A0-217F873889CD}" type="pres">
      <dgm:prSet presAssocID="{0B16726C-A5B2-4D34-8528-C2F41079A029}" presName="vertFlow" presStyleCnt="0"/>
      <dgm:spPr/>
    </dgm:pt>
    <dgm:pt modelId="{56DF75BD-C40A-4987-8198-79A1C0E3E08E}" type="pres">
      <dgm:prSet presAssocID="{0B16726C-A5B2-4D34-8528-C2F41079A029}" presName="topSpace" presStyleCnt="0"/>
      <dgm:spPr/>
    </dgm:pt>
    <dgm:pt modelId="{435EA7ED-D8FD-4E99-B6F6-54DEA11FEB75}" type="pres">
      <dgm:prSet presAssocID="{0B16726C-A5B2-4D34-8528-C2F41079A029}" presName="firstComp" presStyleCnt="0"/>
      <dgm:spPr/>
    </dgm:pt>
    <dgm:pt modelId="{49F12B40-3ED1-4EA2-B596-EE226F056F7C}" type="pres">
      <dgm:prSet presAssocID="{0B16726C-A5B2-4D34-8528-C2F41079A029}" presName="firstChild" presStyleLbl="bgAccFollowNode1" presStyleIdx="0" presStyleCnt="5" custScaleX="285311" custScaleY="285311"/>
      <dgm:spPr/>
    </dgm:pt>
    <dgm:pt modelId="{3DC204D4-3047-462F-81C6-45209775ABC6}" type="pres">
      <dgm:prSet presAssocID="{0B16726C-A5B2-4D34-8528-C2F41079A029}" presName="firstChildTx" presStyleLbl="bgAccFollowNode1" presStyleIdx="0" presStyleCnt="5">
        <dgm:presLayoutVars>
          <dgm:bulletEnabled val="1"/>
        </dgm:presLayoutVars>
      </dgm:prSet>
      <dgm:spPr/>
    </dgm:pt>
    <dgm:pt modelId="{8089A381-98A9-411A-8784-8EE5EAB3E5A0}" type="pres">
      <dgm:prSet presAssocID="{DA0B78FF-A930-4116-A6C0-A63A8B92AB15}" presName="comp" presStyleCnt="0"/>
      <dgm:spPr/>
    </dgm:pt>
    <dgm:pt modelId="{ADD2E260-DD68-4B72-9ACC-47491F8F9225}" type="pres">
      <dgm:prSet presAssocID="{DA0B78FF-A930-4116-A6C0-A63A8B92AB15}" presName="child" presStyleLbl="bgAccFollowNode1" presStyleIdx="1" presStyleCnt="5" custScaleX="285311" custScaleY="285311"/>
      <dgm:spPr/>
    </dgm:pt>
    <dgm:pt modelId="{A9E7575B-AF14-4788-93F8-EA3EC9275017}" type="pres">
      <dgm:prSet presAssocID="{DA0B78FF-A930-4116-A6C0-A63A8B92AB15}" presName="childTx" presStyleLbl="bgAccFollowNode1" presStyleIdx="1" presStyleCnt="5">
        <dgm:presLayoutVars>
          <dgm:bulletEnabled val="1"/>
        </dgm:presLayoutVars>
      </dgm:prSet>
      <dgm:spPr/>
    </dgm:pt>
    <dgm:pt modelId="{6A0DC535-41F3-492B-B1D5-4E1EFF390359}" type="pres">
      <dgm:prSet presAssocID="{23E48842-4B32-40C0-BF16-CE64C38B60FF}" presName="comp" presStyleCnt="0"/>
      <dgm:spPr/>
    </dgm:pt>
    <dgm:pt modelId="{31F4AD7D-A5DF-480A-8FF7-85E260F24B7B}" type="pres">
      <dgm:prSet presAssocID="{23E48842-4B32-40C0-BF16-CE64C38B60FF}" presName="child" presStyleLbl="bgAccFollowNode1" presStyleIdx="2" presStyleCnt="5" custScaleX="285311" custScaleY="285311"/>
      <dgm:spPr/>
    </dgm:pt>
    <dgm:pt modelId="{4614B5E4-6330-48D3-B03E-FC21AD39099B}" type="pres">
      <dgm:prSet presAssocID="{23E48842-4B32-40C0-BF16-CE64C38B60FF}" presName="childTx" presStyleLbl="bgAccFollowNode1" presStyleIdx="2" presStyleCnt="5">
        <dgm:presLayoutVars>
          <dgm:bulletEnabled val="1"/>
        </dgm:presLayoutVars>
      </dgm:prSet>
      <dgm:spPr/>
    </dgm:pt>
    <dgm:pt modelId="{17AD5391-704A-4E12-8A09-5573695C9990}" type="pres">
      <dgm:prSet presAssocID="{414C4730-6C9C-4C22-9344-E54DBB4C57E3}" presName="comp" presStyleCnt="0"/>
      <dgm:spPr/>
    </dgm:pt>
    <dgm:pt modelId="{06A63927-089C-4E22-9222-A3F8F0CAB1B6}" type="pres">
      <dgm:prSet presAssocID="{414C4730-6C9C-4C22-9344-E54DBB4C57E3}" presName="child" presStyleLbl="bgAccFollowNode1" presStyleIdx="3" presStyleCnt="5" custScaleX="285311" custScaleY="285311"/>
      <dgm:spPr/>
    </dgm:pt>
    <dgm:pt modelId="{3BD82BE6-F746-474D-AA26-C37721DC9217}" type="pres">
      <dgm:prSet presAssocID="{414C4730-6C9C-4C22-9344-E54DBB4C57E3}" presName="childTx" presStyleLbl="bgAccFollowNode1" presStyleIdx="3" presStyleCnt="5">
        <dgm:presLayoutVars>
          <dgm:bulletEnabled val="1"/>
        </dgm:presLayoutVars>
      </dgm:prSet>
      <dgm:spPr/>
    </dgm:pt>
    <dgm:pt modelId="{8744AD2A-3E3E-4F61-BA80-959C3D7CB64A}" type="pres">
      <dgm:prSet presAssocID="{1039E28B-5EED-4AB6-B49C-664022C1283F}" presName="comp" presStyleCnt="0"/>
      <dgm:spPr/>
    </dgm:pt>
    <dgm:pt modelId="{DA638E59-A3AA-4E03-BE6D-F0CE2195D651}" type="pres">
      <dgm:prSet presAssocID="{1039E28B-5EED-4AB6-B49C-664022C1283F}" presName="child" presStyleLbl="bgAccFollowNode1" presStyleIdx="4" presStyleCnt="5" custScaleX="285311" custScaleY="285311"/>
      <dgm:spPr/>
    </dgm:pt>
    <dgm:pt modelId="{0166D300-C6BC-40C1-B116-DE280507650F}" type="pres">
      <dgm:prSet presAssocID="{1039E28B-5EED-4AB6-B49C-664022C1283F}" presName="childTx" presStyleLbl="bgAccFollowNode1" presStyleIdx="4" presStyleCnt="5">
        <dgm:presLayoutVars>
          <dgm:bulletEnabled val="1"/>
        </dgm:presLayoutVars>
      </dgm:prSet>
      <dgm:spPr/>
    </dgm:pt>
    <dgm:pt modelId="{6734E169-098D-4F0B-80A1-9F0375B06D7A}" type="pres">
      <dgm:prSet presAssocID="{0B16726C-A5B2-4D34-8528-C2F41079A029}" presName="negSpace" presStyleCnt="0"/>
      <dgm:spPr/>
    </dgm:pt>
    <dgm:pt modelId="{EA1A9A80-A99D-414D-A8B6-0A350AB728AD}" type="pres">
      <dgm:prSet presAssocID="{0B16726C-A5B2-4D34-8528-C2F41079A029}" presName="circle" presStyleLbl="node1" presStyleIdx="0" presStyleCnt="1" custScaleX="313842" custScaleY="313842" custLinFactX="-300000" custLinFactNeighborX="-369643" custLinFactNeighborY="-471"/>
      <dgm:spPr/>
    </dgm:pt>
  </dgm:ptLst>
  <dgm:cxnLst>
    <dgm:cxn modelId="{1570F603-8922-4746-90C3-A1521C2FEEAF}" type="presOf" srcId="{E22428A7-D06B-45DC-8BE2-9EC6E7517484}" destId="{B659B5C0-FBEE-4A7B-A85A-E123BBF062A2}" srcOrd="0" destOrd="0" presId="urn:microsoft.com/office/officeart/2005/8/layout/hList9"/>
    <dgm:cxn modelId="{2EB1C61B-F681-4915-BA5B-FBCEA1CC7C74}" srcId="{23E48842-4B32-40C0-BF16-CE64C38B60FF}" destId="{ACF68DC5-1BA2-4291-AD7F-136E7FC05B60}" srcOrd="0" destOrd="0" parTransId="{70DE0231-6C82-4091-AA3F-5B526C9413EC}" sibTransId="{FD46E755-4856-4F2A-BA91-70624DAAF36C}"/>
    <dgm:cxn modelId="{8A7F571C-D66A-47FA-A9C7-BA382426ED6D}" srcId="{0B16726C-A5B2-4D34-8528-C2F41079A029}" destId="{414C4730-6C9C-4C22-9344-E54DBB4C57E3}" srcOrd="3" destOrd="0" parTransId="{901E2745-CB6F-4F88-A330-3FE4F311B2BD}" sibTransId="{83E6ABF9-0C05-41C0-AE8E-1629BACF1512}"/>
    <dgm:cxn modelId="{10EB6F5F-35D7-4A34-963A-87094293F2B9}" type="presOf" srcId="{0B16726C-A5B2-4D34-8528-C2F41079A029}" destId="{EA1A9A80-A99D-414D-A8B6-0A350AB728AD}" srcOrd="0" destOrd="0" presId="urn:microsoft.com/office/officeart/2005/8/layout/hList9"/>
    <dgm:cxn modelId="{385BD062-798F-4A06-937C-391100ECAA43}" type="presOf" srcId="{414C4730-6C9C-4C22-9344-E54DBB4C57E3}" destId="{06A63927-089C-4E22-9222-A3F8F0CAB1B6}" srcOrd="0" destOrd="0" presId="urn:microsoft.com/office/officeart/2005/8/layout/hList9"/>
    <dgm:cxn modelId="{322C234C-FC78-4387-901B-A807D46A22B1}" type="presOf" srcId="{414C4730-6C9C-4C22-9344-E54DBB4C57E3}" destId="{3BD82BE6-F746-474D-AA26-C37721DC9217}" srcOrd="1" destOrd="0" presId="urn:microsoft.com/office/officeart/2005/8/layout/hList9"/>
    <dgm:cxn modelId="{249D5E70-99E3-4C9B-8E91-498FF898B0EF}" srcId="{0B16726C-A5B2-4D34-8528-C2F41079A029}" destId="{1039E28B-5EED-4AB6-B49C-664022C1283F}" srcOrd="4" destOrd="0" parTransId="{B877B103-00D6-4B48-B704-FB9A58EABBD5}" sibTransId="{A84E7A06-CADC-4C54-94CD-E17E68D484A3}"/>
    <dgm:cxn modelId="{37A9D973-C80C-4068-9A9F-12F1A247CF92}" type="presOf" srcId="{ACF68DC5-1BA2-4291-AD7F-136E7FC05B60}" destId="{4614B5E4-6330-48D3-B03E-FC21AD39099B}" srcOrd="1" destOrd="1" presId="urn:microsoft.com/office/officeart/2005/8/layout/hList9"/>
    <dgm:cxn modelId="{2B127978-6227-4F65-BAFE-D5E263493B69}" type="presOf" srcId="{0337EAA4-DE15-489E-8775-1B2A5FEC2E4D}" destId="{3DC204D4-3047-462F-81C6-45209775ABC6}" srcOrd="1" destOrd="0" presId="urn:microsoft.com/office/officeart/2005/8/layout/hList9"/>
    <dgm:cxn modelId="{A4E4A77C-34F5-4097-8919-BB07DD5C0F55}" type="presOf" srcId="{0337EAA4-DE15-489E-8775-1B2A5FEC2E4D}" destId="{49F12B40-3ED1-4EA2-B596-EE226F056F7C}" srcOrd="0" destOrd="0" presId="urn:microsoft.com/office/officeart/2005/8/layout/hList9"/>
    <dgm:cxn modelId="{97964690-9E0A-4A6A-9214-C93F8550EAC1}" srcId="{0B16726C-A5B2-4D34-8528-C2F41079A029}" destId="{0337EAA4-DE15-489E-8775-1B2A5FEC2E4D}" srcOrd="0" destOrd="0" parTransId="{03F6CB55-1E1C-4134-9AF8-3A54D6E7A796}" sibTransId="{B6EC7AF1-C722-4858-B7A9-2F8F1D9AC1A4}"/>
    <dgm:cxn modelId="{6FE9E49A-4CFE-4DE7-83FD-E41E791EC1F8}" type="presOf" srcId="{DA0B78FF-A930-4116-A6C0-A63A8B92AB15}" destId="{A9E7575B-AF14-4788-93F8-EA3EC9275017}" srcOrd="1" destOrd="0" presId="urn:microsoft.com/office/officeart/2005/8/layout/hList9"/>
    <dgm:cxn modelId="{7B961CA2-CA69-4EA0-B2A1-AFA6A8D1691D}" type="presOf" srcId="{1039E28B-5EED-4AB6-B49C-664022C1283F}" destId="{DA638E59-A3AA-4E03-BE6D-F0CE2195D651}" srcOrd="0" destOrd="0" presId="urn:microsoft.com/office/officeart/2005/8/layout/hList9"/>
    <dgm:cxn modelId="{7235DCAD-CD88-40FD-9FB1-11431ED61B9B}" type="presOf" srcId="{ACF68DC5-1BA2-4291-AD7F-136E7FC05B60}" destId="{31F4AD7D-A5DF-480A-8FF7-85E260F24B7B}" srcOrd="0" destOrd="1" presId="urn:microsoft.com/office/officeart/2005/8/layout/hList9"/>
    <dgm:cxn modelId="{6A0BD0C7-87F7-444A-8303-4FDBF4E30F3C}" srcId="{0B16726C-A5B2-4D34-8528-C2F41079A029}" destId="{23E48842-4B32-40C0-BF16-CE64C38B60FF}" srcOrd="2" destOrd="0" parTransId="{C3CBCD67-1593-4DEB-A338-3B57938057FD}" sibTransId="{949B5A7F-CB24-4F38-9452-6A185A761B34}"/>
    <dgm:cxn modelId="{AF2B3DD4-7BC6-416F-9AD2-0804950EF3DA}" type="presOf" srcId="{23E48842-4B32-40C0-BF16-CE64C38B60FF}" destId="{4614B5E4-6330-48D3-B03E-FC21AD39099B}" srcOrd="1" destOrd="0" presId="urn:microsoft.com/office/officeart/2005/8/layout/hList9"/>
    <dgm:cxn modelId="{4D63ABD6-0656-4BF4-AE9C-66507BC9B7C9}" srcId="{0B16726C-A5B2-4D34-8528-C2F41079A029}" destId="{DA0B78FF-A930-4116-A6C0-A63A8B92AB15}" srcOrd="1" destOrd="0" parTransId="{80DDE693-851B-4BA0-B53A-F9E37D23CC9D}" sibTransId="{57347D9C-ABF3-46C2-8962-5BF9DA557B24}"/>
    <dgm:cxn modelId="{F942CAD6-6084-4A4C-A756-E69408EBF4DB}" srcId="{E22428A7-D06B-45DC-8BE2-9EC6E7517484}" destId="{0B16726C-A5B2-4D34-8528-C2F41079A029}" srcOrd="0" destOrd="0" parTransId="{43187756-DA32-4C16-B8A0-6FEF294B98F9}" sibTransId="{6B38FADC-7AAC-4FD9-A3D6-8BEF6F435C4B}"/>
    <dgm:cxn modelId="{D400C2D9-FF23-4A77-A137-F8234914CAE5}" type="presOf" srcId="{23E48842-4B32-40C0-BF16-CE64C38B60FF}" destId="{31F4AD7D-A5DF-480A-8FF7-85E260F24B7B}" srcOrd="0" destOrd="0" presId="urn:microsoft.com/office/officeart/2005/8/layout/hList9"/>
    <dgm:cxn modelId="{EFF72BEB-B2BE-4AA4-BF41-886B3F23DFBC}" type="presOf" srcId="{1039E28B-5EED-4AB6-B49C-664022C1283F}" destId="{0166D300-C6BC-40C1-B116-DE280507650F}" srcOrd="1" destOrd="0" presId="urn:microsoft.com/office/officeart/2005/8/layout/hList9"/>
    <dgm:cxn modelId="{F1872AF0-56FD-4A84-8F92-7039FEA00D61}" type="presOf" srcId="{DA0B78FF-A930-4116-A6C0-A63A8B92AB15}" destId="{ADD2E260-DD68-4B72-9ACC-47491F8F9225}" srcOrd="0" destOrd="0" presId="urn:microsoft.com/office/officeart/2005/8/layout/hList9"/>
    <dgm:cxn modelId="{CEC378EC-E3C3-4000-BED1-7FA4E8623165}" type="presParOf" srcId="{B659B5C0-FBEE-4A7B-A85A-E123BBF062A2}" destId="{62A26C26-DE12-4898-A419-25E23072FE23}" srcOrd="0" destOrd="0" presId="urn:microsoft.com/office/officeart/2005/8/layout/hList9"/>
    <dgm:cxn modelId="{DB77A7C5-4B79-46C7-B76C-3A00B7FAD80C}" type="presParOf" srcId="{B659B5C0-FBEE-4A7B-A85A-E123BBF062A2}" destId="{0FD4D64B-CCB0-4163-B2A0-217F873889CD}" srcOrd="1" destOrd="0" presId="urn:microsoft.com/office/officeart/2005/8/layout/hList9"/>
    <dgm:cxn modelId="{282A3BB1-27B3-4B22-B521-FB3628E4EC83}" type="presParOf" srcId="{0FD4D64B-CCB0-4163-B2A0-217F873889CD}" destId="{56DF75BD-C40A-4987-8198-79A1C0E3E08E}" srcOrd="0" destOrd="0" presId="urn:microsoft.com/office/officeart/2005/8/layout/hList9"/>
    <dgm:cxn modelId="{5ABB31AA-246E-482A-B3CB-E4ADDFFB380B}" type="presParOf" srcId="{0FD4D64B-CCB0-4163-B2A0-217F873889CD}" destId="{435EA7ED-D8FD-4E99-B6F6-54DEA11FEB75}" srcOrd="1" destOrd="0" presId="urn:microsoft.com/office/officeart/2005/8/layout/hList9"/>
    <dgm:cxn modelId="{43A5506B-DE55-4492-9F48-9507F5FACE17}" type="presParOf" srcId="{435EA7ED-D8FD-4E99-B6F6-54DEA11FEB75}" destId="{49F12B40-3ED1-4EA2-B596-EE226F056F7C}" srcOrd="0" destOrd="0" presId="urn:microsoft.com/office/officeart/2005/8/layout/hList9"/>
    <dgm:cxn modelId="{8A190910-1A8F-4C3F-8DC4-11B2AE05B352}" type="presParOf" srcId="{435EA7ED-D8FD-4E99-B6F6-54DEA11FEB75}" destId="{3DC204D4-3047-462F-81C6-45209775ABC6}" srcOrd="1" destOrd="0" presId="urn:microsoft.com/office/officeart/2005/8/layout/hList9"/>
    <dgm:cxn modelId="{C217C798-52A6-44B0-A487-78E5D9B5EF53}" type="presParOf" srcId="{0FD4D64B-CCB0-4163-B2A0-217F873889CD}" destId="{8089A381-98A9-411A-8784-8EE5EAB3E5A0}" srcOrd="2" destOrd="0" presId="urn:microsoft.com/office/officeart/2005/8/layout/hList9"/>
    <dgm:cxn modelId="{9A546DBA-0581-4279-918C-E2020C8E0431}" type="presParOf" srcId="{8089A381-98A9-411A-8784-8EE5EAB3E5A0}" destId="{ADD2E260-DD68-4B72-9ACC-47491F8F9225}" srcOrd="0" destOrd="0" presId="urn:microsoft.com/office/officeart/2005/8/layout/hList9"/>
    <dgm:cxn modelId="{57435CD2-AEEE-438F-BDBA-012A93B571DC}" type="presParOf" srcId="{8089A381-98A9-411A-8784-8EE5EAB3E5A0}" destId="{A9E7575B-AF14-4788-93F8-EA3EC9275017}" srcOrd="1" destOrd="0" presId="urn:microsoft.com/office/officeart/2005/8/layout/hList9"/>
    <dgm:cxn modelId="{F4746A31-FF36-40B1-B779-35FE8D6D4C01}" type="presParOf" srcId="{0FD4D64B-CCB0-4163-B2A0-217F873889CD}" destId="{6A0DC535-41F3-492B-B1D5-4E1EFF390359}" srcOrd="3" destOrd="0" presId="urn:microsoft.com/office/officeart/2005/8/layout/hList9"/>
    <dgm:cxn modelId="{40BADAC8-B81F-4B46-AF59-08C77C4CD569}" type="presParOf" srcId="{6A0DC535-41F3-492B-B1D5-4E1EFF390359}" destId="{31F4AD7D-A5DF-480A-8FF7-85E260F24B7B}" srcOrd="0" destOrd="0" presId="urn:microsoft.com/office/officeart/2005/8/layout/hList9"/>
    <dgm:cxn modelId="{90B4564C-E22A-4809-BA70-4648B2732C5C}" type="presParOf" srcId="{6A0DC535-41F3-492B-B1D5-4E1EFF390359}" destId="{4614B5E4-6330-48D3-B03E-FC21AD39099B}" srcOrd="1" destOrd="0" presId="urn:microsoft.com/office/officeart/2005/8/layout/hList9"/>
    <dgm:cxn modelId="{0DC64B48-558E-49E7-9DDE-A2A6E4973B6C}" type="presParOf" srcId="{0FD4D64B-CCB0-4163-B2A0-217F873889CD}" destId="{17AD5391-704A-4E12-8A09-5573695C9990}" srcOrd="4" destOrd="0" presId="urn:microsoft.com/office/officeart/2005/8/layout/hList9"/>
    <dgm:cxn modelId="{923729FE-3225-48D3-84B0-F910D4C7D65B}" type="presParOf" srcId="{17AD5391-704A-4E12-8A09-5573695C9990}" destId="{06A63927-089C-4E22-9222-A3F8F0CAB1B6}" srcOrd="0" destOrd="0" presId="urn:microsoft.com/office/officeart/2005/8/layout/hList9"/>
    <dgm:cxn modelId="{9C263D8B-836C-4986-9576-263FA91FC75A}" type="presParOf" srcId="{17AD5391-704A-4E12-8A09-5573695C9990}" destId="{3BD82BE6-F746-474D-AA26-C37721DC9217}" srcOrd="1" destOrd="0" presId="urn:microsoft.com/office/officeart/2005/8/layout/hList9"/>
    <dgm:cxn modelId="{1A004021-1FC4-4F52-AB80-C68F7EA34F78}" type="presParOf" srcId="{0FD4D64B-CCB0-4163-B2A0-217F873889CD}" destId="{8744AD2A-3E3E-4F61-BA80-959C3D7CB64A}" srcOrd="5" destOrd="0" presId="urn:microsoft.com/office/officeart/2005/8/layout/hList9"/>
    <dgm:cxn modelId="{A84514C6-7661-488A-8F54-29BF42EC2747}" type="presParOf" srcId="{8744AD2A-3E3E-4F61-BA80-959C3D7CB64A}" destId="{DA638E59-A3AA-4E03-BE6D-F0CE2195D651}" srcOrd="0" destOrd="0" presId="urn:microsoft.com/office/officeart/2005/8/layout/hList9"/>
    <dgm:cxn modelId="{1E362E6F-E24C-4CC7-9AFA-44A359A80E49}" type="presParOf" srcId="{8744AD2A-3E3E-4F61-BA80-959C3D7CB64A}" destId="{0166D300-C6BC-40C1-B116-DE280507650F}" srcOrd="1" destOrd="0" presId="urn:microsoft.com/office/officeart/2005/8/layout/hList9"/>
    <dgm:cxn modelId="{D007960F-68C5-4B7F-BE4E-075F3895EE86}" type="presParOf" srcId="{B659B5C0-FBEE-4A7B-A85A-E123BBF062A2}" destId="{6734E169-098D-4F0B-80A1-9F0375B06D7A}" srcOrd="2" destOrd="0" presId="urn:microsoft.com/office/officeart/2005/8/layout/hList9"/>
    <dgm:cxn modelId="{45FE118B-81EA-452A-BC7E-B02D0711165A}" type="presParOf" srcId="{B659B5C0-FBEE-4A7B-A85A-E123BBF062A2}" destId="{EA1A9A80-A99D-414D-A8B6-0A350AB728AD}" srcOrd="3" destOrd="0" presId="urn:microsoft.com/office/officeart/2005/8/layout/hList9"/>
  </dgm:cxnLst>
  <dgm:bg>
    <a:effectLst>
      <a:outerShdw blurRad="50800" dist="38100" dir="18900000" algn="bl" rotWithShape="0">
        <a:prstClr val="black">
          <a:alpha val="40000"/>
        </a:prstClr>
      </a:outerShdw>
    </a:effectLst>
  </dgm:bg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CD7FE99B-23A3-4227-AABE-1F67A60826A4}" type="doc">
      <dgm:prSet loTypeId="urn:microsoft.com/office/officeart/2005/8/layout/default" loCatId="list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4BFC926-22FB-4D07-9144-C45AC5BF66F7}">
      <dgm:prSet custT="1"/>
      <dgm:spPr/>
      <dgm:t>
        <a:bodyPr/>
        <a:lstStyle/>
        <a:p>
          <a:pPr>
            <a:buClr>
              <a:srgbClr val="042A45"/>
            </a:buClr>
            <a:buNone/>
          </a:pPr>
          <a:r>
            <a:rPr lang="en-US" sz="800" dirty="0">
              <a:solidFill>
                <a:srgbClr val="FFFFFF"/>
              </a:solidFill>
              <a:latin typeface="Arial"/>
              <a:ea typeface="+mn-ea"/>
              <a:cs typeface="+mn-cs"/>
            </a:rPr>
            <a:t>The CST individually scores interviews based on scoring criteria presented during the presentation developed from the content paragraph and the Q &amp; A session.</a:t>
          </a:r>
        </a:p>
      </dgm:t>
    </dgm:pt>
    <dgm:pt modelId="{6E082AB2-ED4F-4C50-B7B7-A2F79DE9902C}" type="parTrans" cxnId="{DB025077-6A60-4363-810A-3F7C3904B10C}">
      <dgm:prSet/>
      <dgm:spPr/>
      <dgm:t>
        <a:bodyPr/>
        <a:lstStyle/>
        <a:p>
          <a:endParaRPr lang="en-US"/>
        </a:p>
      </dgm:t>
    </dgm:pt>
    <dgm:pt modelId="{F144651C-D595-46B0-A199-0950B95DFE5B}" type="sibTrans" cxnId="{DB025077-6A60-4363-810A-3F7C3904B10C}">
      <dgm:prSet/>
      <dgm:spPr/>
      <dgm:t>
        <a:bodyPr/>
        <a:lstStyle/>
        <a:p>
          <a:endParaRPr lang="en-US"/>
        </a:p>
      </dgm:t>
    </dgm:pt>
    <dgm:pt modelId="{0AD520C0-BAA6-48B9-A37C-276331C7BB47}" type="pres">
      <dgm:prSet presAssocID="{CD7FE99B-23A3-4227-AABE-1F67A60826A4}" presName="diagram" presStyleCnt="0">
        <dgm:presLayoutVars>
          <dgm:dir/>
          <dgm:resizeHandles val="exact"/>
        </dgm:presLayoutVars>
      </dgm:prSet>
      <dgm:spPr/>
    </dgm:pt>
    <dgm:pt modelId="{1DA0DC65-45DA-449E-B225-873DFA46C267}" type="pres">
      <dgm:prSet presAssocID="{B4BFC926-22FB-4D07-9144-C45AC5BF66F7}" presName="node" presStyleLbl="node1" presStyleIdx="0" presStyleCnt="1" custScaleY="178367">
        <dgm:presLayoutVars>
          <dgm:bulletEnabled val="1"/>
        </dgm:presLayoutVars>
      </dgm:prSet>
      <dgm:spPr/>
    </dgm:pt>
  </dgm:ptLst>
  <dgm:cxnLst>
    <dgm:cxn modelId="{0198B150-2A63-4510-A517-D3BFBE679B54}" type="presOf" srcId="{CD7FE99B-23A3-4227-AABE-1F67A60826A4}" destId="{0AD520C0-BAA6-48B9-A37C-276331C7BB47}" srcOrd="0" destOrd="0" presId="urn:microsoft.com/office/officeart/2005/8/layout/default"/>
    <dgm:cxn modelId="{DB025077-6A60-4363-810A-3F7C3904B10C}" srcId="{CD7FE99B-23A3-4227-AABE-1F67A60826A4}" destId="{B4BFC926-22FB-4D07-9144-C45AC5BF66F7}" srcOrd="0" destOrd="0" parTransId="{6E082AB2-ED4F-4C50-B7B7-A2F79DE9902C}" sibTransId="{F144651C-D595-46B0-A199-0950B95DFE5B}"/>
    <dgm:cxn modelId="{4E060CD2-B952-44EB-8545-A3CE3997320C}" type="presOf" srcId="{B4BFC926-22FB-4D07-9144-C45AC5BF66F7}" destId="{1DA0DC65-45DA-449E-B225-873DFA46C267}" srcOrd="0" destOrd="0" presId="urn:microsoft.com/office/officeart/2005/8/layout/default"/>
    <dgm:cxn modelId="{2A3E8863-57C5-401F-BEC4-081AB3BBEDCC}" type="presParOf" srcId="{0AD520C0-BAA6-48B9-A37C-276331C7BB47}" destId="{1DA0DC65-45DA-449E-B225-873DFA46C267}" srcOrd="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F19F1DFC-A89B-4181-AE9A-A92722309C7B}" type="doc">
      <dgm:prSet loTypeId="urn:microsoft.com/office/officeart/2005/8/layout/defaul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717CA953-B3F7-40A7-8F70-65F765A4A967}">
      <dgm:prSet phldrT="[Text]" phldr="0"/>
      <dgm:spPr/>
      <dgm:t>
        <a:bodyPr/>
        <a:lstStyle/>
        <a:p>
          <a:r>
            <a:rPr lang="en-US" dirty="0"/>
            <a:t>Use the Proposal Screening Checklist</a:t>
          </a:r>
        </a:p>
        <a:p>
          <a:r>
            <a:rPr kumimoji="0" lang="en-US" b="0" i="0" u="none" strike="noStrike" cap="none" spc="0" normalizeH="0" baseline="0" noProof="0" dirty="0">
              <a:ln/>
              <a:solidFill>
                <a:srgbClr val="FFFF00"/>
              </a:solidFill>
              <a:effectLst/>
              <a:uLnTx/>
              <a:uFillTx/>
              <a:latin typeface="Verdana"/>
              <a:ea typeface="+mn-ea"/>
              <a:cs typeface="+mn-cs"/>
              <a:hlinkClick xmlns:r="http://schemas.openxmlformats.org/officeDocument/2006/relationships" r:id="rId1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Proposal Screening Checklist</a:t>
          </a:r>
          <a:r>
            <a:rPr kumimoji="0" lang="en-US" b="0" i="0" u="none" strike="noStrike" cap="none" spc="0" normalizeH="0" baseline="0" noProof="0" dirty="0">
              <a:ln/>
              <a:solidFill>
                <a:srgbClr val="FFFF00"/>
              </a:solidFill>
              <a:effectLst/>
              <a:uLnTx/>
              <a:uFillTx/>
              <a:latin typeface="Verdana"/>
              <a:ea typeface="+mn-ea"/>
              <a:cs typeface="+mn-cs"/>
            </a:rPr>
            <a:t> </a:t>
          </a:r>
          <a:endParaRPr lang="en-US" dirty="0">
            <a:solidFill>
              <a:srgbClr val="FFFF00"/>
            </a:solidFill>
          </a:endParaRPr>
        </a:p>
      </dgm:t>
    </dgm:pt>
    <dgm:pt modelId="{F0540697-6CAE-4EAE-9CFB-9538676C4CD4}" type="parTrans" cxnId="{67A35D3A-341B-4CAF-AB25-E11F68762DF3}">
      <dgm:prSet/>
      <dgm:spPr/>
      <dgm:t>
        <a:bodyPr/>
        <a:lstStyle/>
        <a:p>
          <a:endParaRPr lang="en-US"/>
        </a:p>
      </dgm:t>
    </dgm:pt>
    <dgm:pt modelId="{EC9B0663-12C0-4828-B926-81AA8936FB18}" type="sibTrans" cxnId="{67A35D3A-341B-4CAF-AB25-E11F68762DF3}">
      <dgm:prSet/>
      <dgm:spPr/>
      <dgm:t>
        <a:bodyPr/>
        <a:lstStyle/>
        <a:p>
          <a:endParaRPr lang="en-US"/>
        </a:p>
      </dgm:t>
    </dgm:pt>
    <dgm:pt modelId="{59EB90D4-7E9B-41F0-A486-25A999A517F7}">
      <dgm:prSet/>
      <dgm:spPr/>
      <dgm:t>
        <a:bodyPr/>
        <a:lstStyle/>
        <a:p>
          <a:r>
            <a:rPr lang="en-US" dirty="0"/>
            <a:t>Your submittal/proposal can be pulled back for a correction or revision before RFP closes</a:t>
          </a:r>
        </a:p>
      </dgm:t>
    </dgm:pt>
    <dgm:pt modelId="{98D81450-C5FC-4EFF-AD9F-3752A6B96DCD}" type="parTrans" cxnId="{BFDA4BBA-BF02-426A-A6E5-2A6BF0C01C7A}">
      <dgm:prSet/>
      <dgm:spPr/>
      <dgm:t>
        <a:bodyPr/>
        <a:lstStyle/>
        <a:p>
          <a:endParaRPr lang="en-US"/>
        </a:p>
      </dgm:t>
    </dgm:pt>
    <dgm:pt modelId="{B9849DA0-54DF-45EE-9395-6738D8D2D4B6}" type="sibTrans" cxnId="{BFDA4BBA-BF02-426A-A6E5-2A6BF0C01C7A}">
      <dgm:prSet/>
      <dgm:spPr/>
      <dgm:t>
        <a:bodyPr/>
        <a:lstStyle/>
        <a:p>
          <a:endParaRPr lang="en-US"/>
        </a:p>
      </dgm:t>
    </dgm:pt>
    <dgm:pt modelId="{A79FDE6D-359B-44CD-AA4E-A51B95BD1732}">
      <dgm:prSet/>
      <dgm:spPr/>
      <dgm:t>
        <a:bodyPr/>
        <a:lstStyle/>
        <a:p>
          <a:r>
            <a:rPr lang="en-US"/>
            <a:t>Always refer to the RFP</a:t>
          </a:r>
        </a:p>
      </dgm:t>
    </dgm:pt>
    <dgm:pt modelId="{AE3EDBCD-A75C-4CBF-ADC5-C2CEE5AE35DA}" type="parTrans" cxnId="{DD732C5A-6227-449D-A804-63B2EEAEE842}">
      <dgm:prSet/>
      <dgm:spPr/>
      <dgm:t>
        <a:bodyPr/>
        <a:lstStyle/>
        <a:p>
          <a:endParaRPr lang="en-US"/>
        </a:p>
      </dgm:t>
    </dgm:pt>
    <dgm:pt modelId="{27D194C0-7CA9-45E2-BCF5-485018EA66F9}" type="sibTrans" cxnId="{DD732C5A-6227-449D-A804-63B2EEAEE842}">
      <dgm:prSet/>
      <dgm:spPr/>
      <dgm:t>
        <a:bodyPr/>
        <a:lstStyle/>
        <a:p>
          <a:endParaRPr lang="en-US"/>
        </a:p>
      </dgm:t>
    </dgm:pt>
    <dgm:pt modelId="{49319671-8A10-46E2-A361-5C794C46F789}">
      <dgm:prSet/>
      <dgm:spPr/>
      <dgm:t>
        <a:bodyPr/>
        <a:lstStyle/>
        <a:p>
          <a:r>
            <a:rPr lang="en-US" dirty="0"/>
            <a:t>Check for Addenda and questions and answers</a:t>
          </a:r>
        </a:p>
      </dgm:t>
    </dgm:pt>
    <dgm:pt modelId="{A340570D-094B-45E2-9571-C328EDC670A5}" type="parTrans" cxnId="{26FF3CB2-AF47-4F03-95A2-1E82A5A47E56}">
      <dgm:prSet/>
      <dgm:spPr/>
      <dgm:t>
        <a:bodyPr/>
        <a:lstStyle/>
        <a:p>
          <a:endParaRPr lang="en-US"/>
        </a:p>
      </dgm:t>
    </dgm:pt>
    <dgm:pt modelId="{AA87D3C6-B8A0-4D54-90D0-5404F833EF3C}" type="sibTrans" cxnId="{26FF3CB2-AF47-4F03-95A2-1E82A5A47E56}">
      <dgm:prSet/>
      <dgm:spPr/>
      <dgm:t>
        <a:bodyPr/>
        <a:lstStyle/>
        <a:p>
          <a:endParaRPr lang="en-US"/>
        </a:p>
      </dgm:t>
    </dgm:pt>
    <dgm:pt modelId="{2AF1ADBF-2438-4D2F-A871-464040774711}">
      <dgm:prSet phldrT="[Text]" phldr="0"/>
      <dgm:spPr/>
      <dgm:t>
        <a:bodyPr/>
        <a:lstStyle/>
        <a:p>
          <a:r>
            <a:rPr lang="en-US" dirty="0"/>
            <a:t>Familiarize yourself with the </a:t>
          </a:r>
          <a:r>
            <a:rPr lang="en-US" dirty="0" err="1"/>
            <a:t>VetHUB</a:t>
          </a:r>
          <a:r>
            <a:rPr lang="en-US" dirty="0"/>
            <a:t> Process</a:t>
          </a:r>
        </a:p>
        <a:p>
          <a:r>
            <a:rPr lang="en-US" dirty="0">
              <a:solidFill>
                <a:srgbClr val="FFFF00"/>
              </a:solidFill>
              <a:hlinkClick xmlns:r="http://schemas.openxmlformats.org/officeDocument/2006/relationships" r:id="rId2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Civil Rights events calendar</a:t>
          </a:r>
          <a:endParaRPr lang="en-US" dirty="0">
            <a:solidFill>
              <a:srgbClr val="FFFF00"/>
            </a:solidFill>
          </a:endParaRPr>
        </a:p>
      </dgm:t>
    </dgm:pt>
    <dgm:pt modelId="{80F2816E-6053-4C1D-AB06-53CE31BAD927}" type="parTrans" cxnId="{11939A50-157A-4EF8-9B92-D26D8FD03724}">
      <dgm:prSet/>
      <dgm:spPr/>
      <dgm:t>
        <a:bodyPr/>
        <a:lstStyle/>
        <a:p>
          <a:endParaRPr lang="en-US"/>
        </a:p>
      </dgm:t>
    </dgm:pt>
    <dgm:pt modelId="{34E9B053-F8EC-43E7-8C18-12E2BA42AE47}" type="sibTrans" cxnId="{11939A50-157A-4EF8-9B92-D26D8FD03724}">
      <dgm:prSet/>
      <dgm:spPr/>
      <dgm:t>
        <a:bodyPr/>
        <a:lstStyle/>
        <a:p>
          <a:endParaRPr lang="en-US"/>
        </a:p>
      </dgm:t>
    </dgm:pt>
    <dgm:pt modelId="{5C61EC60-74EE-4AF6-9C5C-D18DA65CDAF7}" type="pres">
      <dgm:prSet presAssocID="{F19F1DFC-A89B-4181-AE9A-A92722309C7B}" presName="diagram" presStyleCnt="0">
        <dgm:presLayoutVars>
          <dgm:dir/>
          <dgm:resizeHandles val="exact"/>
        </dgm:presLayoutVars>
      </dgm:prSet>
      <dgm:spPr/>
    </dgm:pt>
    <dgm:pt modelId="{9835EEF5-2A0B-4CFC-9547-2109A09BBE59}" type="pres">
      <dgm:prSet presAssocID="{717CA953-B3F7-40A7-8F70-65F765A4A967}" presName="node" presStyleLbl="node1" presStyleIdx="0" presStyleCnt="5">
        <dgm:presLayoutVars>
          <dgm:bulletEnabled val="1"/>
        </dgm:presLayoutVars>
      </dgm:prSet>
      <dgm:spPr/>
    </dgm:pt>
    <dgm:pt modelId="{AA298A31-EFA9-49A2-B970-BD008A4C69DB}" type="pres">
      <dgm:prSet presAssocID="{EC9B0663-12C0-4828-B926-81AA8936FB18}" presName="sibTrans" presStyleCnt="0"/>
      <dgm:spPr/>
    </dgm:pt>
    <dgm:pt modelId="{494F53D6-7EC0-4212-AF80-4EBDCD7B1CCD}" type="pres">
      <dgm:prSet presAssocID="{49319671-8A10-46E2-A361-5C794C46F789}" presName="node" presStyleLbl="node1" presStyleIdx="1" presStyleCnt="5">
        <dgm:presLayoutVars>
          <dgm:bulletEnabled val="1"/>
        </dgm:presLayoutVars>
      </dgm:prSet>
      <dgm:spPr/>
    </dgm:pt>
    <dgm:pt modelId="{AE569CD4-96A1-44B9-8FCC-E80869E5DB3E}" type="pres">
      <dgm:prSet presAssocID="{AA87D3C6-B8A0-4D54-90D0-5404F833EF3C}" presName="sibTrans" presStyleCnt="0"/>
      <dgm:spPr/>
    </dgm:pt>
    <dgm:pt modelId="{60A3E2E7-3C9E-4D18-9B48-2EA1E0494791}" type="pres">
      <dgm:prSet presAssocID="{A79FDE6D-359B-44CD-AA4E-A51B95BD1732}" presName="node" presStyleLbl="node1" presStyleIdx="2" presStyleCnt="5">
        <dgm:presLayoutVars>
          <dgm:bulletEnabled val="1"/>
        </dgm:presLayoutVars>
      </dgm:prSet>
      <dgm:spPr/>
    </dgm:pt>
    <dgm:pt modelId="{7847F8C5-BDF3-4C53-812E-D932452B5313}" type="pres">
      <dgm:prSet presAssocID="{27D194C0-7CA9-45E2-BCF5-485018EA66F9}" presName="sibTrans" presStyleCnt="0"/>
      <dgm:spPr/>
    </dgm:pt>
    <dgm:pt modelId="{A6B85706-745F-4953-AE57-A122CFCC61AB}" type="pres">
      <dgm:prSet presAssocID="{59EB90D4-7E9B-41F0-A486-25A999A517F7}" presName="node" presStyleLbl="node1" presStyleIdx="3" presStyleCnt="5">
        <dgm:presLayoutVars>
          <dgm:bulletEnabled val="1"/>
        </dgm:presLayoutVars>
      </dgm:prSet>
      <dgm:spPr/>
    </dgm:pt>
    <dgm:pt modelId="{EA37596A-EF24-4C7F-A70E-7C159A00EE7D}" type="pres">
      <dgm:prSet presAssocID="{B9849DA0-54DF-45EE-9395-6738D8D2D4B6}" presName="sibTrans" presStyleCnt="0"/>
      <dgm:spPr/>
    </dgm:pt>
    <dgm:pt modelId="{A38455F8-AF73-41D8-AA00-37471165AF6A}" type="pres">
      <dgm:prSet presAssocID="{2AF1ADBF-2438-4D2F-A871-464040774711}" presName="node" presStyleLbl="node1" presStyleIdx="4" presStyleCnt="5">
        <dgm:presLayoutVars>
          <dgm:bulletEnabled val="1"/>
        </dgm:presLayoutVars>
      </dgm:prSet>
      <dgm:spPr/>
    </dgm:pt>
  </dgm:ptLst>
  <dgm:cxnLst>
    <dgm:cxn modelId="{B6246506-59B6-419C-8975-79CA72D3C9BE}" type="presOf" srcId="{717CA953-B3F7-40A7-8F70-65F765A4A967}" destId="{9835EEF5-2A0B-4CFC-9547-2109A09BBE59}" srcOrd="0" destOrd="0" presId="urn:microsoft.com/office/officeart/2005/8/layout/default"/>
    <dgm:cxn modelId="{02EEEB34-C49E-494D-B7C7-31BBE6A08AA5}" type="presOf" srcId="{A79FDE6D-359B-44CD-AA4E-A51B95BD1732}" destId="{60A3E2E7-3C9E-4D18-9B48-2EA1E0494791}" srcOrd="0" destOrd="0" presId="urn:microsoft.com/office/officeart/2005/8/layout/default"/>
    <dgm:cxn modelId="{67A35D3A-341B-4CAF-AB25-E11F68762DF3}" srcId="{F19F1DFC-A89B-4181-AE9A-A92722309C7B}" destId="{717CA953-B3F7-40A7-8F70-65F765A4A967}" srcOrd="0" destOrd="0" parTransId="{F0540697-6CAE-4EAE-9CFB-9538676C4CD4}" sibTransId="{EC9B0663-12C0-4828-B926-81AA8936FB18}"/>
    <dgm:cxn modelId="{AF62D26F-836B-4132-B1F5-4E2E3F8E2E73}" type="presOf" srcId="{2AF1ADBF-2438-4D2F-A871-464040774711}" destId="{A38455F8-AF73-41D8-AA00-37471165AF6A}" srcOrd="0" destOrd="0" presId="urn:microsoft.com/office/officeart/2005/8/layout/default"/>
    <dgm:cxn modelId="{11939A50-157A-4EF8-9B92-D26D8FD03724}" srcId="{F19F1DFC-A89B-4181-AE9A-A92722309C7B}" destId="{2AF1ADBF-2438-4D2F-A871-464040774711}" srcOrd="4" destOrd="0" parTransId="{80F2816E-6053-4C1D-AB06-53CE31BAD927}" sibTransId="{34E9B053-F8EC-43E7-8C18-12E2BA42AE47}"/>
    <dgm:cxn modelId="{DD732C5A-6227-449D-A804-63B2EEAEE842}" srcId="{F19F1DFC-A89B-4181-AE9A-A92722309C7B}" destId="{A79FDE6D-359B-44CD-AA4E-A51B95BD1732}" srcOrd="2" destOrd="0" parTransId="{AE3EDBCD-A75C-4CBF-ADC5-C2CEE5AE35DA}" sibTransId="{27D194C0-7CA9-45E2-BCF5-485018EA66F9}"/>
    <dgm:cxn modelId="{BA709A98-2EFA-4172-A079-D12404E262DB}" type="presOf" srcId="{49319671-8A10-46E2-A361-5C794C46F789}" destId="{494F53D6-7EC0-4212-AF80-4EBDCD7B1CCD}" srcOrd="0" destOrd="0" presId="urn:microsoft.com/office/officeart/2005/8/layout/default"/>
    <dgm:cxn modelId="{26FF3CB2-AF47-4F03-95A2-1E82A5A47E56}" srcId="{F19F1DFC-A89B-4181-AE9A-A92722309C7B}" destId="{49319671-8A10-46E2-A361-5C794C46F789}" srcOrd="1" destOrd="0" parTransId="{A340570D-094B-45E2-9571-C328EDC670A5}" sibTransId="{AA87D3C6-B8A0-4D54-90D0-5404F833EF3C}"/>
    <dgm:cxn modelId="{BFDA4BBA-BF02-426A-A6E5-2A6BF0C01C7A}" srcId="{F19F1DFC-A89B-4181-AE9A-A92722309C7B}" destId="{59EB90D4-7E9B-41F0-A486-25A999A517F7}" srcOrd="3" destOrd="0" parTransId="{98D81450-C5FC-4EFF-AD9F-3752A6B96DCD}" sibTransId="{B9849DA0-54DF-45EE-9395-6738D8D2D4B6}"/>
    <dgm:cxn modelId="{DF6A64DE-739B-43A8-9F34-D2D3265F1882}" type="presOf" srcId="{59EB90D4-7E9B-41F0-A486-25A999A517F7}" destId="{A6B85706-745F-4953-AE57-A122CFCC61AB}" srcOrd="0" destOrd="0" presId="urn:microsoft.com/office/officeart/2005/8/layout/default"/>
    <dgm:cxn modelId="{3B67CBEC-DA5A-44CD-883D-9392CE39792E}" type="presOf" srcId="{F19F1DFC-A89B-4181-AE9A-A92722309C7B}" destId="{5C61EC60-74EE-4AF6-9C5C-D18DA65CDAF7}" srcOrd="0" destOrd="0" presId="urn:microsoft.com/office/officeart/2005/8/layout/default"/>
    <dgm:cxn modelId="{D5F0CC81-A98B-4D18-BD84-13B1A28958A3}" type="presParOf" srcId="{5C61EC60-74EE-4AF6-9C5C-D18DA65CDAF7}" destId="{9835EEF5-2A0B-4CFC-9547-2109A09BBE59}" srcOrd="0" destOrd="0" presId="urn:microsoft.com/office/officeart/2005/8/layout/default"/>
    <dgm:cxn modelId="{BC560DE0-6B2C-4584-A15D-8A91F75D751D}" type="presParOf" srcId="{5C61EC60-74EE-4AF6-9C5C-D18DA65CDAF7}" destId="{AA298A31-EFA9-49A2-B970-BD008A4C69DB}" srcOrd="1" destOrd="0" presId="urn:microsoft.com/office/officeart/2005/8/layout/default"/>
    <dgm:cxn modelId="{EE2A2A38-6A85-4B44-BE97-1C6F3DE126D5}" type="presParOf" srcId="{5C61EC60-74EE-4AF6-9C5C-D18DA65CDAF7}" destId="{494F53D6-7EC0-4212-AF80-4EBDCD7B1CCD}" srcOrd="2" destOrd="0" presId="urn:microsoft.com/office/officeart/2005/8/layout/default"/>
    <dgm:cxn modelId="{749F7367-94D9-4526-B57E-0C78A06452F0}" type="presParOf" srcId="{5C61EC60-74EE-4AF6-9C5C-D18DA65CDAF7}" destId="{AE569CD4-96A1-44B9-8FCC-E80869E5DB3E}" srcOrd="3" destOrd="0" presId="urn:microsoft.com/office/officeart/2005/8/layout/default"/>
    <dgm:cxn modelId="{153ECCA8-DCAE-4260-9A12-EAADD9AED0C4}" type="presParOf" srcId="{5C61EC60-74EE-4AF6-9C5C-D18DA65CDAF7}" destId="{60A3E2E7-3C9E-4D18-9B48-2EA1E0494791}" srcOrd="4" destOrd="0" presId="urn:microsoft.com/office/officeart/2005/8/layout/default"/>
    <dgm:cxn modelId="{4F719C72-4A4C-4489-8C81-85557EE7B3FC}" type="presParOf" srcId="{5C61EC60-74EE-4AF6-9C5C-D18DA65CDAF7}" destId="{7847F8C5-BDF3-4C53-812E-D932452B5313}" srcOrd="5" destOrd="0" presId="urn:microsoft.com/office/officeart/2005/8/layout/default"/>
    <dgm:cxn modelId="{D9EE6263-7259-4979-809A-5194AA750EFF}" type="presParOf" srcId="{5C61EC60-74EE-4AF6-9C5C-D18DA65CDAF7}" destId="{A6B85706-745F-4953-AE57-A122CFCC61AB}" srcOrd="6" destOrd="0" presId="urn:microsoft.com/office/officeart/2005/8/layout/default"/>
    <dgm:cxn modelId="{45CD2129-3853-4C89-8081-87557B064A1B}" type="presParOf" srcId="{5C61EC60-74EE-4AF6-9C5C-D18DA65CDAF7}" destId="{EA37596A-EF24-4C7F-A70E-7C159A00EE7D}" srcOrd="7" destOrd="0" presId="urn:microsoft.com/office/officeart/2005/8/layout/default"/>
    <dgm:cxn modelId="{F3FE33EC-D58A-4F10-8A9A-7DD041812A87}" type="presParOf" srcId="{5C61EC60-74EE-4AF6-9C5C-D18DA65CDAF7}" destId="{A38455F8-AF73-41D8-AA00-37471165AF6A}" srcOrd="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A28E49B2-7C1A-4D8E-8F35-5F4CFB2B7A8E}" type="doc">
      <dgm:prSet loTypeId="urn:microsoft.com/office/officeart/2005/8/layout/equation1" loCatId="relationship" qsTypeId="urn:microsoft.com/office/officeart/2005/8/quickstyle/simple2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9C608E00-E2B1-4B7A-906C-96790A0A91F1}">
      <dgm:prSet phldrT="[Text]"/>
      <dgm:spPr>
        <a:effectLst>
          <a:outerShdw blurRad="50800" dist="38100" algn="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US" dirty="0"/>
            <a:t>Non-Listed Categories (NLC’s)</a:t>
          </a:r>
        </a:p>
      </dgm:t>
    </dgm:pt>
    <dgm:pt modelId="{D20E6D69-4928-4335-8C0B-4CF80DFECDCD}" type="parTrans" cxnId="{08A91BC1-8802-40A9-98F3-44CE6E7DFF3E}">
      <dgm:prSet/>
      <dgm:spPr/>
      <dgm:t>
        <a:bodyPr/>
        <a:lstStyle/>
        <a:p>
          <a:endParaRPr lang="en-US"/>
        </a:p>
      </dgm:t>
    </dgm:pt>
    <dgm:pt modelId="{FC60448B-AA49-4572-B6B2-B1E2AAB8D6A6}" type="sibTrans" cxnId="{08A91BC1-8802-40A9-98F3-44CE6E7DFF3E}">
      <dgm:prSet/>
      <dgm:spPr/>
      <dgm:t>
        <a:bodyPr/>
        <a:lstStyle/>
        <a:p>
          <a:endParaRPr lang="en-US"/>
        </a:p>
      </dgm:t>
    </dgm:pt>
    <dgm:pt modelId="{99BE0664-6A74-4076-AFFF-FFA14211F4EA}">
      <dgm:prSet phldrT="[Text]"/>
      <dgm:spPr>
        <a:effectLst>
          <a:outerShdw blurRad="50800" dist="38100" algn="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US" dirty="0"/>
            <a:t>None at this time</a:t>
          </a:r>
        </a:p>
      </dgm:t>
    </dgm:pt>
    <dgm:pt modelId="{403BB16A-0017-43A2-83CE-77EB9C79DD91}" type="parTrans" cxnId="{FBC523D8-8030-4334-8339-15D50E985FA7}">
      <dgm:prSet/>
      <dgm:spPr/>
      <dgm:t>
        <a:bodyPr/>
        <a:lstStyle/>
        <a:p>
          <a:endParaRPr lang="en-US"/>
        </a:p>
      </dgm:t>
    </dgm:pt>
    <dgm:pt modelId="{A189844E-C4FD-441A-BA67-FF981BBFF385}" type="sibTrans" cxnId="{FBC523D8-8030-4334-8339-15D50E985FA7}">
      <dgm:prSet/>
      <dgm:spPr/>
      <dgm:t>
        <a:bodyPr/>
        <a:lstStyle/>
        <a:p>
          <a:endParaRPr lang="en-US"/>
        </a:p>
      </dgm:t>
    </dgm:pt>
    <dgm:pt modelId="{999B7B3A-B01E-432F-90D3-0736850683F7}" type="pres">
      <dgm:prSet presAssocID="{A28E49B2-7C1A-4D8E-8F35-5F4CFB2B7A8E}" presName="linearFlow" presStyleCnt="0">
        <dgm:presLayoutVars>
          <dgm:dir/>
          <dgm:resizeHandles val="exact"/>
        </dgm:presLayoutVars>
      </dgm:prSet>
      <dgm:spPr/>
    </dgm:pt>
    <dgm:pt modelId="{25EC3054-8FF9-4D8C-82EC-6C8AB6C3884F}" type="pres">
      <dgm:prSet presAssocID="{9C608E00-E2B1-4B7A-906C-96790A0A91F1}" presName="node" presStyleLbl="node1" presStyleIdx="0" presStyleCnt="1" custLinFactNeighborX="-2363" custLinFactNeighborY="212">
        <dgm:presLayoutVars>
          <dgm:bulletEnabled val="1"/>
        </dgm:presLayoutVars>
      </dgm:prSet>
      <dgm:spPr/>
    </dgm:pt>
  </dgm:ptLst>
  <dgm:cxnLst>
    <dgm:cxn modelId="{1C34BF0C-640A-4AEC-92BE-933473B91DE2}" type="presOf" srcId="{9C608E00-E2B1-4B7A-906C-96790A0A91F1}" destId="{25EC3054-8FF9-4D8C-82EC-6C8AB6C3884F}" srcOrd="0" destOrd="0" presId="urn:microsoft.com/office/officeart/2005/8/layout/equation1"/>
    <dgm:cxn modelId="{13058F6F-EE11-451A-8E04-8CAB43FCEC12}" type="presOf" srcId="{99BE0664-6A74-4076-AFFF-FFA14211F4EA}" destId="{25EC3054-8FF9-4D8C-82EC-6C8AB6C3884F}" srcOrd="0" destOrd="1" presId="urn:microsoft.com/office/officeart/2005/8/layout/equation1"/>
    <dgm:cxn modelId="{08A91BC1-8802-40A9-98F3-44CE6E7DFF3E}" srcId="{A28E49B2-7C1A-4D8E-8F35-5F4CFB2B7A8E}" destId="{9C608E00-E2B1-4B7A-906C-96790A0A91F1}" srcOrd="0" destOrd="0" parTransId="{D20E6D69-4928-4335-8C0B-4CF80DFECDCD}" sibTransId="{FC60448B-AA49-4572-B6B2-B1E2AAB8D6A6}"/>
    <dgm:cxn modelId="{49EE20D2-121C-41A6-B578-3CC44614E463}" type="presOf" srcId="{A28E49B2-7C1A-4D8E-8F35-5F4CFB2B7A8E}" destId="{999B7B3A-B01E-432F-90D3-0736850683F7}" srcOrd="0" destOrd="0" presId="urn:microsoft.com/office/officeart/2005/8/layout/equation1"/>
    <dgm:cxn modelId="{FBC523D8-8030-4334-8339-15D50E985FA7}" srcId="{9C608E00-E2B1-4B7A-906C-96790A0A91F1}" destId="{99BE0664-6A74-4076-AFFF-FFA14211F4EA}" srcOrd="0" destOrd="0" parTransId="{403BB16A-0017-43A2-83CE-77EB9C79DD91}" sibTransId="{A189844E-C4FD-441A-BA67-FF981BBFF385}"/>
    <dgm:cxn modelId="{B5DAE4D1-8D4D-4DA1-8A87-8C2915F2731E}" type="presParOf" srcId="{999B7B3A-B01E-432F-90D3-0736850683F7}" destId="{25EC3054-8FF9-4D8C-82EC-6C8AB6C3884F}" srcOrd="0" destOrd="0" presId="urn:microsoft.com/office/officeart/2005/8/layout/equati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A466BD1-EBC4-4721-A245-5EF94DE699B7}">
      <dsp:nvSpPr>
        <dsp:cNvPr id="0" name=""/>
        <dsp:cNvSpPr/>
      </dsp:nvSpPr>
      <dsp:spPr>
        <a:xfrm>
          <a:off x="0" y="0"/>
          <a:ext cx="6286500" cy="665802"/>
        </a:xfrm>
        <a:prstGeom prst="rect">
          <a:avLst/>
        </a:prstGeom>
        <a:solidFill>
          <a:srgbClr val="0F3859">
            <a:shade val="90000"/>
            <a:hueOff val="0"/>
            <a:satOff val="0"/>
            <a:lumOff val="0"/>
            <a:alphaOff val="0"/>
          </a:srgb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b="1" kern="1200" dirty="0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Thank you for coming!</a:t>
          </a:r>
          <a:endParaRPr lang="en-US" sz="3200" kern="1200" dirty="0">
            <a:solidFill>
              <a:srgbClr val="FFFFFF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sp:txBody>
      <dsp:txXfrm>
        <a:off x="0" y="0"/>
        <a:ext cx="6286500" cy="665802"/>
      </dsp:txXfrm>
    </dsp:sp>
    <dsp:sp modelId="{54D81EA8-0CCE-4820-AD5A-1561B172AAD0}">
      <dsp:nvSpPr>
        <dsp:cNvPr id="0" name=""/>
        <dsp:cNvSpPr/>
      </dsp:nvSpPr>
      <dsp:spPr>
        <a:xfrm>
          <a:off x="0" y="665802"/>
          <a:ext cx="3143250" cy="1398184"/>
        </a:xfrm>
        <a:prstGeom prst="rect">
          <a:avLst/>
        </a:prstGeom>
        <a:gradFill rotWithShape="0">
          <a:gsLst>
            <a:gs pos="0">
              <a:srgbClr val="0F3859">
                <a:alpha val="90000"/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0F3859">
                <a:alpha val="90000"/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0F3859">
                <a:alpha val="90000"/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 dirty="0">
              <a:solidFill>
                <a:srgbClr val="FFFFFF"/>
              </a:solidFill>
              <a:latin typeface="Arial"/>
              <a:ea typeface="+mn-ea"/>
              <a:cs typeface="+mn-cs"/>
            </a:rPr>
            <a:t>Please be sure to share your contact information in the chat so we can document this for teaming opportunities</a:t>
          </a:r>
          <a:endParaRPr lang="en-US" sz="1900" kern="1200" dirty="0">
            <a:solidFill>
              <a:srgbClr val="FFFFFF"/>
            </a:solidFill>
            <a:latin typeface="Arial"/>
            <a:ea typeface="+mn-ea"/>
            <a:cs typeface="+mn-cs"/>
          </a:endParaRPr>
        </a:p>
      </dsp:txBody>
      <dsp:txXfrm>
        <a:off x="0" y="665802"/>
        <a:ext cx="3143250" cy="1398184"/>
      </dsp:txXfrm>
    </dsp:sp>
    <dsp:sp modelId="{BCBF8E88-D9B2-4B15-9997-7B4B7AA3DDEF}">
      <dsp:nvSpPr>
        <dsp:cNvPr id="0" name=""/>
        <dsp:cNvSpPr/>
      </dsp:nvSpPr>
      <dsp:spPr>
        <a:xfrm>
          <a:off x="3143250" y="665802"/>
          <a:ext cx="3143250" cy="1398184"/>
        </a:xfrm>
        <a:prstGeom prst="rect">
          <a:avLst/>
        </a:prstGeom>
        <a:gradFill rotWithShape="0">
          <a:gsLst>
            <a:gs pos="0">
              <a:srgbClr val="0F3859">
                <a:alpha val="90000"/>
                <a:hueOff val="0"/>
                <a:satOff val="0"/>
                <a:lumOff val="0"/>
                <a:alphaOff val="-40000"/>
                <a:shade val="51000"/>
                <a:satMod val="130000"/>
              </a:srgbClr>
            </a:gs>
            <a:gs pos="80000">
              <a:srgbClr val="0F3859">
                <a:alpha val="90000"/>
                <a:hueOff val="0"/>
                <a:satOff val="0"/>
                <a:lumOff val="0"/>
                <a:alphaOff val="-40000"/>
                <a:shade val="93000"/>
                <a:satMod val="130000"/>
              </a:srgbClr>
            </a:gs>
            <a:gs pos="100000">
              <a:srgbClr val="0F3859">
                <a:alpha val="90000"/>
                <a:hueOff val="0"/>
                <a:satOff val="0"/>
                <a:lumOff val="0"/>
                <a:alphaOff val="-4000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>
              <a:solidFill>
                <a:srgbClr val="FFFFFF"/>
              </a:solidFill>
              <a:latin typeface="Arial"/>
              <a:ea typeface="+mn-ea"/>
              <a:cs typeface="+mn-cs"/>
            </a:rPr>
            <a:t>Please stay muted during the presentation as we will be taking questions at the end</a:t>
          </a:r>
        </a:p>
      </dsp:txBody>
      <dsp:txXfrm>
        <a:off x="3143250" y="665802"/>
        <a:ext cx="3143250" cy="1398184"/>
      </dsp:txXfrm>
    </dsp:sp>
    <dsp:sp modelId="{A2321464-4710-4451-BE5B-256B40EA8743}">
      <dsp:nvSpPr>
        <dsp:cNvPr id="0" name=""/>
        <dsp:cNvSpPr/>
      </dsp:nvSpPr>
      <dsp:spPr>
        <a:xfrm>
          <a:off x="0" y="2063986"/>
          <a:ext cx="6286500" cy="155353"/>
        </a:xfrm>
        <a:prstGeom prst="rect">
          <a:avLst/>
        </a:prstGeom>
        <a:solidFill>
          <a:srgbClr val="0F3859">
            <a:shade val="90000"/>
            <a:hueOff val="0"/>
            <a:satOff val="0"/>
            <a:lumOff val="0"/>
            <a:alphaOff val="0"/>
          </a:srgb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89B2197-A387-4D36-951E-FAF6F26FABF7}">
      <dsp:nvSpPr>
        <dsp:cNvPr id="0" name=""/>
        <dsp:cNvSpPr/>
      </dsp:nvSpPr>
      <dsp:spPr>
        <a:xfrm>
          <a:off x="436793" y="3653372"/>
          <a:ext cx="5453838" cy="0"/>
        </a:xfrm>
        <a:prstGeom prst="line">
          <a:avLst/>
        </a:prstGeom>
        <a:noFill/>
        <a:ln w="9525" cap="flat" cmpd="sng" algn="ctr">
          <a:solidFill>
            <a:srgbClr val="0F3859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0DD08FD-AAB9-4760-AC24-4516FB2D0D46}">
      <dsp:nvSpPr>
        <dsp:cNvPr id="0" name=""/>
        <dsp:cNvSpPr/>
      </dsp:nvSpPr>
      <dsp:spPr>
        <a:xfrm>
          <a:off x="436793" y="3245495"/>
          <a:ext cx="5453838" cy="0"/>
        </a:xfrm>
        <a:prstGeom prst="line">
          <a:avLst/>
        </a:prstGeom>
        <a:noFill/>
        <a:ln w="9525" cap="flat" cmpd="sng" algn="ctr">
          <a:solidFill>
            <a:srgbClr val="0F3859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FEC6A4D-E13A-4EE1-A6C4-D51CD5C029CE}">
      <dsp:nvSpPr>
        <dsp:cNvPr id="0" name=""/>
        <dsp:cNvSpPr/>
      </dsp:nvSpPr>
      <dsp:spPr>
        <a:xfrm>
          <a:off x="436793" y="2837619"/>
          <a:ext cx="5453838" cy="0"/>
        </a:xfrm>
        <a:prstGeom prst="line">
          <a:avLst/>
        </a:prstGeom>
        <a:noFill/>
        <a:ln w="9525" cap="flat" cmpd="sng" algn="ctr">
          <a:solidFill>
            <a:srgbClr val="0F3859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D309975-C661-4731-A07E-4105163FB3F2}">
      <dsp:nvSpPr>
        <dsp:cNvPr id="0" name=""/>
        <dsp:cNvSpPr/>
      </dsp:nvSpPr>
      <dsp:spPr>
        <a:xfrm>
          <a:off x="436793" y="2429743"/>
          <a:ext cx="5453838" cy="0"/>
        </a:xfrm>
        <a:prstGeom prst="line">
          <a:avLst/>
        </a:prstGeom>
        <a:noFill/>
        <a:ln w="9525" cap="flat" cmpd="sng" algn="ctr">
          <a:solidFill>
            <a:srgbClr val="0F3859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11367D3-A568-4BBA-A0C6-03307052D445}">
      <dsp:nvSpPr>
        <dsp:cNvPr id="0" name=""/>
        <dsp:cNvSpPr/>
      </dsp:nvSpPr>
      <dsp:spPr>
        <a:xfrm>
          <a:off x="436793" y="2021866"/>
          <a:ext cx="5453838" cy="0"/>
        </a:xfrm>
        <a:prstGeom prst="line">
          <a:avLst/>
        </a:prstGeom>
        <a:noFill/>
        <a:ln w="9525" cap="flat" cmpd="sng" algn="ctr">
          <a:solidFill>
            <a:srgbClr val="0F3859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E1997FA-DC64-4848-B75D-187D5A1A9E86}">
      <dsp:nvSpPr>
        <dsp:cNvPr id="0" name=""/>
        <dsp:cNvSpPr/>
      </dsp:nvSpPr>
      <dsp:spPr>
        <a:xfrm>
          <a:off x="436793" y="1613990"/>
          <a:ext cx="5453838" cy="0"/>
        </a:xfrm>
        <a:prstGeom prst="line">
          <a:avLst/>
        </a:prstGeom>
        <a:noFill/>
        <a:ln w="9525" cap="flat" cmpd="sng" algn="ctr">
          <a:solidFill>
            <a:srgbClr val="0F3859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E6B096B-370E-4AF9-BC05-7077BBADE693}">
      <dsp:nvSpPr>
        <dsp:cNvPr id="0" name=""/>
        <dsp:cNvSpPr/>
      </dsp:nvSpPr>
      <dsp:spPr>
        <a:xfrm>
          <a:off x="436793" y="1206114"/>
          <a:ext cx="5453838" cy="0"/>
        </a:xfrm>
        <a:prstGeom prst="line">
          <a:avLst/>
        </a:prstGeom>
        <a:noFill/>
        <a:ln w="9525" cap="flat" cmpd="sng" algn="ctr">
          <a:solidFill>
            <a:srgbClr val="0F3859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E51DB2B-6E63-4598-94AA-4D5AE7392D45}">
      <dsp:nvSpPr>
        <dsp:cNvPr id="0" name=""/>
        <dsp:cNvSpPr/>
      </dsp:nvSpPr>
      <dsp:spPr>
        <a:xfrm>
          <a:off x="436793" y="798237"/>
          <a:ext cx="5453838" cy="0"/>
        </a:xfrm>
        <a:prstGeom prst="line">
          <a:avLst/>
        </a:prstGeom>
        <a:noFill/>
        <a:ln w="9525" cap="flat" cmpd="sng" algn="ctr">
          <a:solidFill>
            <a:srgbClr val="0F3859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E973344-4DC1-49E9-9788-5FECD467D9D1}">
      <dsp:nvSpPr>
        <dsp:cNvPr id="0" name=""/>
        <dsp:cNvSpPr/>
      </dsp:nvSpPr>
      <dsp:spPr>
        <a:xfrm>
          <a:off x="436793" y="390361"/>
          <a:ext cx="5453838" cy="0"/>
        </a:xfrm>
        <a:prstGeom prst="line">
          <a:avLst/>
        </a:prstGeom>
        <a:noFill/>
        <a:ln w="9525" cap="flat" cmpd="sng" algn="ctr">
          <a:solidFill>
            <a:srgbClr val="0F3859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21D972E-8C02-4A13-9B75-9277A5556067}">
      <dsp:nvSpPr>
        <dsp:cNvPr id="0" name=""/>
        <dsp:cNvSpPr/>
      </dsp:nvSpPr>
      <dsp:spPr>
        <a:xfrm>
          <a:off x="1854791" y="1907"/>
          <a:ext cx="4035840" cy="3884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b" anchorCtr="0">
          <a:noAutofit/>
        </a:bodyPr>
        <a:lstStyle/>
        <a:p>
          <a:pPr marL="0" lvl="0" indent="0" algn="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July 10, 2026</a:t>
          </a:r>
        </a:p>
      </dsp:txBody>
      <dsp:txXfrm>
        <a:off x="1854791" y="1907"/>
        <a:ext cx="4035840" cy="388453"/>
      </dsp:txXfrm>
    </dsp:sp>
    <dsp:sp modelId="{6083460A-0CB7-43B3-BC99-10A373FA006F}">
      <dsp:nvSpPr>
        <dsp:cNvPr id="0" name=""/>
        <dsp:cNvSpPr/>
      </dsp:nvSpPr>
      <dsp:spPr>
        <a:xfrm>
          <a:off x="-436793" y="1907"/>
          <a:ext cx="3165170" cy="388453"/>
        </a:xfrm>
        <a:prstGeom prst="round2SameRect">
          <a:avLst>
            <a:gd name="adj1" fmla="val 16670"/>
            <a:gd name="adj2" fmla="val 0"/>
          </a:avLst>
        </a:prstGeom>
        <a:gradFill rotWithShape="0">
          <a:gsLst>
            <a:gs pos="0">
              <a:srgbClr val="0F3859">
                <a:alpha val="90000"/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0F3859">
                <a:alpha val="90000"/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0F3859">
                <a:alpha val="90000"/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 w="9525" cap="flat" cmpd="sng" algn="ctr">
          <a:solidFill>
            <a:srgbClr val="0F3859">
              <a:alpha val="9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rgbClr val="FFFFFF"/>
              </a:solidFill>
              <a:latin typeface="Arial"/>
              <a:ea typeface="+mn-ea"/>
              <a:cs typeface="+mn-cs"/>
            </a:rPr>
            <a:t>Pre-RFP Meeting</a:t>
          </a:r>
        </a:p>
      </dsp:txBody>
      <dsp:txXfrm>
        <a:off x="-417827" y="20873"/>
        <a:ext cx="3127238" cy="369487"/>
      </dsp:txXfrm>
    </dsp:sp>
    <dsp:sp modelId="{B90021ED-0034-4A1A-8D06-9FC20674A098}">
      <dsp:nvSpPr>
        <dsp:cNvPr id="0" name=""/>
        <dsp:cNvSpPr/>
      </dsp:nvSpPr>
      <dsp:spPr>
        <a:xfrm>
          <a:off x="1854791" y="409784"/>
          <a:ext cx="4035840" cy="3884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b" anchorCtr="0">
          <a:noAutofit/>
        </a:bodyPr>
        <a:lstStyle/>
        <a:p>
          <a:pPr marL="0" lvl="0" indent="0" algn="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Late July 2026</a:t>
          </a:r>
        </a:p>
      </dsp:txBody>
      <dsp:txXfrm>
        <a:off x="1854791" y="409784"/>
        <a:ext cx="4035840" cy="388453"/>
      </dsp:txXfrm>
    </dsp:sp>
    <dsp:sp modelId="{F94506FA-B671-4165-9F05-6DA14FDA6AA0}">
      <dsp:nvSpPr>
        <dsp:cNvPr id="0" name=""/>
        <dsp:cNvSpPr/>
      </dsp:nvSpPr>
      <dsp:spPr>
        <a:xfrm>
          <a:off x="-436793" y="409784"/>
          <a:ext cx="3165170" cy="388453"/>
        </a:xfrm>
        <a:prstGeom prst="round2SameRect">
          <a:avLst>
            <a:gd name="adj1" fmla="val 16670"/>
            <a:gd name="adj2" fmla="val 0"/>
          </a:avLst>
        </a:prstGeom>
        <a:gradFill rotWithShape="0">
          <a:gsLst>
            <a:gs pos="0">
              <a:srgbClr val="0F3859">
                <a:alpha val="90000"/>
                <a:hueOff val="0"/>
                <a:satOff val="0"/>
                <a:lumOff val="0"/>
                <a:alphaOff val="-5000"/>
                <a:shade val="51000"/>
                <a:satMod val="130000"/>
              </a:srgbClr>
            </a:gs>
            <a:gs pos="80000">
              <a:srgbClr val="0F3859">
                <a:alpha val="90000"/>
                <a:hueOff val="0"/>
                <a:satOff val="0"/>
                <a:lumOff val="0"/>
                <a:alphaOff val="-5000"/>
                <a:shade val="93000"/>
                <a:satMod val="130000"/>
              </a:srgbClr>
            </a:gs>
            <a:gs pos="100000">
              <a:srgbClr val="0F3859">
                <a:alpha val="90000"/>
                <a:hueOff val="0"/>
                <a:satOff val="0"/>
                <a:lumOff val="0"/>
                <a:alphaOff val="-5000"/>
                <a:shade val="94000"/>
                <a:satMod val="135000"/>
              </a:srgbClr>
            </a:gs>
          </a:gsLst>
          <a:lin ang="16200000" scaled="0"/>
        </a:gradFill>
        <a:ln w="9525" cap="flat" cmpd="sng" algn="ctr">
          <a:solidFill>
            <a:srgbClr val="0F3859">
              <a:alpha val="90000"/>
              <a:hueOff val="0"/>
              <a:satOff val="0"/>
              <a:lumOff val="0"/>
              <a:alphaOff val="-5000"/>
            </a:srgbClr>
          </a:solidFill>
          <a:prstDash val="solid"/>
          <a:miter lim="800000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rgbClr val="FFFFFF"/>
              </a:solidFill>
              <a:latin typeface="Arial"/>
              <a:ea typeface="+mn-ea"/>
              <a:cs typeface="+mn-cs"/>
            </a:rPr>
            <a:t>RFP Posting</a:t>
          </a:r>
        </a:p>
      </dsp:txBody>
      <dsp:txXfrm>
        <a:off x="-417827" y="428750"/>
        <a:ext cx="3127238" cy="369487"/>
      </dsp:txXfrm>
    </dsp:sp>
    <dsp:sp modelId="{D6893497-CAB4-4BC5-915E-7BE52879406B}">
      <dsp:nvSpPr>
        <dsp:cNvPr id="0" name=""/>
        <dsp:cNvSpPr/>
      </dsp:nvSpPr>
      <dsp:spPr>
        <a:xfrm>
          <a:off x="1854791" y="817660"/>
          <a:ext cx="4035840" cy="3884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b" anchorCtr="0">
          <a:noAutofit/>
        </a:bodyPr>
        <a:lstStyle/>
        <a:p>
          <a:pPr marL="0" lvl="0" indent="0" algn="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August 2026</a:t>
          </a:r>
        </a:p>
      </dsp:txBody>
      <dsp:txXfrm>
        <a:off x="1854791" y="817660"/>
        <a:ext cx="4035840" cy="388453"/>
      </dsp:txXfrm>
    </dsp:sp>
    <dsp:sp modelId="{1EB0ED7F-E7BE-491E-9C66-4DC2FBED6501}">
      <dsp:nvSpPr>
        <dsp:cNvPr id="0" name=""/>
        <dsp:cNvSpPr/>
      </dsp:nvSpPr>
      <dsp:spPr>
        <a:xfrm>
          <a:off x="-436793" y="817660"/>
          <a:ext cx="3165170" cy="388453"/>
        </a:xfrm>
        <a:prstGeom prst="round2SameRect">
          <a:avLst>
            <a:gd name="adj1" fmla="val 16670"/>
            <a:gd name="adj2" fmla="val 0"/>
          </a:avLst>
        </a:prstGeom>
        <a:gradFill rotWithShape="0">
          <a:gsLst>
            <a:gs pos="0">
              <a:srgbClr val="0F3859">
                <a:alpha val="90000"/>
                <a:hueOff val="0"/>
                <a:satOff val="0"/>
                <a:lumOff val="0"/>
                <a:alphaOff val="-10000"/>
                <a:shade val="51000"/>
                <a:satMod val="130000"/>
              </a:srgbClr>
            </a:gs>
            <a:gs pos="80000">
              <a:srgbClr val="0F3859">
                <a:alpha val="90000"/>
                <a:hueOff val="0"/>
                <a:satOff val="0"/>
                <a:lumOff val="0"/>
                <a:alphaOff val="-10000"/>
                <a:shade val="93000"/>
                <a:satMod val="130000"/>
              </a:srgbClr>
            </a:gs>
            <a:gs pos="100000">
              <a:srgbClr val="0F3859">
                <a:alpha val="90000"/>
                <a:hueOff val="0"/>
                <a:satOff val="0"/>
                <a:lumOff val="0"/>
                <a:alphaOff val="-10000"/>
                <a:shade val="94000"/>
                <a:satMod val="135000"/>
              </a:srgbClr>
            </a:gs>
          </a:gsLst>
          <a:lin ang="16200000" scaled="0"/>
        </a:gradFill>
        <a:ln w="9525" cap="flat" cmpd="sng" algn="ctr">
          <a:solidFill>
            <a:srgbClr val="0F3859">
              <a:alpha val="90000"/>
              <a:hueOff val="0"/>
              <a:satOff val="0"/>
              <a:lumOff val="0"/>
              <a:alphaOff val="-10000"/>
            </a:srgbClr>
          </a:solidFill>
          <a:prstDash val="solid"/>
          <a:miter lim="800000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rgbClr val="FFFFFF"/>
              </a:solidFill>
              <a:latin typeface="Arial"/>
              <a:ea typeface="+mn-ea"/>
              <a:cs typeface="+mn-cs"/>
            </a:rPr>
            <a:t>Proposal Due</a:t>
          </a:r>
        </a:p>
      </dsp:txBody>
      <dsp:txXfrm>
        <a:off x="-417827" y="836626"/>
        <a:ext cx="3127238" cy="369487"/>
      </dsp:txXfrm>
    </dsp:sp>
    <dsp:sp modelId="{6399AE0B-03A2-4B7A-A624-3661F398BBC9}">
      <dsp:nvSpPr>
        <dsp:cNvPr id="0" name=""/>
        <dsp:cNvSpPr/>
      </dsp:nvSpPr>
      <dsp:spPr>
        <a:xfrm>
          <a:off x="1854791" y="1225536"/>
          <a:ext cx="4035840" cy="3884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b" anchorCtr="0">
          <a:noAutofit/>
        </a:bodyPr>
        <a:lstStyle/>
        <a:p>
          <a:pPr marL="0" lvl="0" indent="0" algn="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Late Aug/Early Sept 2026</a:t>
          </a:r>
        </a:p>
      </dsp:txBody>
      <dsp:txXfrm>
        <a:off x="1854791" y="1225536"/>
        <a:ext cx="4035840" cy="388453"/>
      </dsp:txXfrm>
    </dsp:sp>
    <dsp:sp modelId="{6D0C9CB6-4260-4DC2-A232-1D89C8FD90D1}">
      <dsp:nvSpPr>
        <dsp:cNvPr id="0" name=""/>
        <dsp:cNvSpPr/>
      </dsp:nvSpPr>
      <dsp:spPr>
        <a:xfrm>
          <a:off x="-436793" y="1225536"/>
          <a:ext cx="3165170" cy="388453"/>
        </a:xfrm>
        <a:prstGeom prst="round2SameRect">
          <a:avLst>
            <a:gd name="adj1" fmla="val 16670"/>
            <a:gd name="adj2" fmla="val 0"/>
          </a:avLst>
        </a:prstGeom>
        <a:gradFill rotWithShape="0">
          <a:gsLst>
            <a:gs pos="0">
              <a:srgbClr val="0F3859">
                <a:alpha val="90000"/>
                <a:hueOff val="0"/>
                <a:satOff val="0"/>
                <a:lumOff val="0"/>
                <a:alphaOff val="-15000"/>
                <a:shade val="51000"/>
                <a:satMod val="130000"/>
              </a:srgbClr>
            </a:gs>
            <a:gs pos="80000">
              <a:srgbClr val="0F3859">
                <a:alpha val="90000"/>
                <a:hueOff val="0"/>
                <a:satOff val="0"/>
                <a:lumOff val="0"/>
                <a:alphaOff val="-15000"/>
                <a:shade val="93000"/>
                <a:satMod val="130000"/>
              </a:srgbClr>
            </a:gs>
            <a:gs pos="100000">
              <a:srgbClr val="0F3859">
                <a:alpha val="90000"/>
                <a:hueOff val="0"/>
                <a:satOff val="0"/>
                <a:lumOff val="0"/>
                <a:alphaOff val="-15000"/>
                <a:shade val="94000"/>
                <a:satMod val="135000"/>
              </a:srgbClr>
            </a:gs>
          </a:gsLst>
          <a:lin ang="16200000" scaled="0"/>
        </a:gradFill>
        <a:ln w="9525" cap="flat" cmpd="sng" algn="ctr">
          <a:solidFill>
            <a:srgbClr val="0F3859">
              <a:alpha val="90000"/>
              <a:hueOff val="0"/>
              <a:satOff val="0"/>
              <a:lumOff val="0"/>
              <a:alphaOff val="-15000"/>
            </a:srgbClr>
          </a:solidFill>
          <a:prstDash val="solid"/>
          <a:miter lim="800000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rgbClr val="FFFFFF"/>
              </a:solidFill>
              <a:latin typeface="Arial"/>
              <a:ea typeface="+mn-ea"/>
              <a:cs typeface="+mn-cs"/>
            </a:rPr>
            <a:t>ICG Sent Out</a:t>
          </a:r>
        </a:p>
      </dsp:txBody>
      <dsp:txXfrm>
        <a:off x="-417827" y="1244502"/>
        <a:ext cx="3127238" cy="369487"/>
      </dsp:txXfrm>
    </dsp:sp>
    <dsp:sp modelId="{02B16C45-0D9D-4C2D-9EA8-8C0F3569A1C4}">
      <dsp:nvSpPr>
        <dsp:cNvPr id="0" name=""/>
        <dsp:cNvSpPr/>
      </dsp:nvSpPr>
      <dsp:spPr>
        <a:xfrm>
          <a:off x="1854791" y="1633413"/>
          <a:ext cx="4035840" cy="3884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b" anchorCtr="0">
          <a:noAutofit/>
        </a:bodyPr>
        <a:lstStyle/>
        <a:p>
          <a:pPr marL="0" lvl="0" indent="0" algn="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September 2026</a:t>
          </a:r>
        </a:p>
      </dsp:txBody>
      <dsp:txXfrm>
        <a:off x="1854791" y="1633413"/>
        <a:ext cx="4035840" cy="388453"/>
      </dsp:txXfrm>
    </dsp:sp>
    <dsp:sp modelId="{40F44694-3584-418B-84F8-85D8AC37903B}">
      <dsp:nvSpPr>
        <dsp:cNvPr id="0" name=""/>
        <dsp:cNvSpPr/>
      </dsp:nvSpPr>
      <dsp:spPr>
        <a:xfrm>
          <a:off x="-436793" y="1633413"/>
          <a:ext cx="3165170" cy="388453"/>
        </a:xfrm>
        <a:prstGeom prst="round2SameRect">
          <a:avLst>
            <a:gd name="adj1" fmla="val 16670"/>
            <a:gd name="adj2" fmla="val 0"/>
          </a:avLst>
        </a:prstGeom>
        <a:gradFill rotWithShape="0">
          <a:gsLst>
            <a:gs pos="0">
              <a:srgbClr val="0F3859">
                <a:alpha val="90000"/>
                <a:hueOff val="0"/>
                <a:satOff val="0"/>
                <a:lumOff val="0"/>
                <a:alphaOff val="-20000"/>
                <a:shade val="51000"/>
                <a:satMod val="130000"/>
              </a:srgbClr>
            </a:gs>
            <a:gs pos="80000">
              <a:srgbClr val="0F3859">
                <a:alpha val="90000"/>
                <a:hueOff val="0"/>
                <a:satOff val="0"/>
                <a:lumOff val="0"/>
                <a:alphaOff val="-20000"/>
                <a:shade val="93000"/>
                <a:satMod val="130000"/>
              </a:srgbClr>
            </a:gs>
            <a:gs pos="100000">
              <a:srgbClr val="0F3859">
                <a:alpha val="90000"/>
                <a:hueOff val="0"/>
                <a:satOff val="0"/>
                <a:lumOff val="0"/>
                <a:alphaOff val="-20000"/>
                <a:shade val="94000"/>
                <a:satMod val="135000"/>
              </a:srgbClr>
            </a:gs>
          </a:gsLst>
          <a:lin ang="16200000" scaled="0"/>
        </a:gradFill>
        <a:ln w="9525" cap="flat" cmpd="sng" algn="ctr">
          <a:solidFill>
            <a:srgbClr val="0F3859">
              <a:alpha val="90000"/>
              <a:hueOff val="0"/>
              <a:satOff val="0"/>
              <a:lumOff val="0"/>
              <a:alphaOff val="-20000"/>
            </a:srgbClr>
          </a:solidFill>
          <a:prstDash val="solid"/>
          <a:miter lim="800000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rgbClr val="FFFFFF"/>
              </a:solidFill>
              <a:latin typeface="Arial"/>
              <a:ea typeface="+mn-ea"/>
              <a:cs typeface="+mn-cs"/>
            </a:rPr>
            <a:t>Interviews</a:t>
          </a:r>
        </a:p>
      </dsp:txBody>
      <dsp:txXfrm>
        <a:off x="-417827" y="1652379"/>
        <a:ext cx="3127238" cy="369487"/>
      </dsp:txXfrm>
    </dsp:sp>
    <dsp:sp modelId="{447DF322-532A-4B3E-8A67-BA98C969444E}">
      <dsp:nvSpPr>
        <dsp:cNvPr id="0" name=""/>
        <dsp:cNvSpPr/>
      </dsp:nvSpPr>
      <dsp:spPr>
        <a:xfrm>
          <a:off x="1854791" y="2041289"/>
          <a:ext cx="4035840" cy="3884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b" anchorCtr="0">
          <a:noAutofit/>
        </a:bodyPr>
        <a:lstStyle/>
        <a:p>
          <a:pPr marL="0" lvl="0" indent="0" algn="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September 2026</a:t>
          </a:r>
        </a:p>
      </dsp:txBody>
      <dsp:txXfrm>
        <a:off x="1854791" y="2041289"/>
        <a:ext cx="4035840" cy="388453"/>
      </dsp:txXfrm>
    </dsp:sp>
    <dsp:sp modelId="{A852BDAD-B6B8-4418-879A-1088E774B707}">
      <dsp:nvSpPr>
        <dsp:cNvPr id="0" name=""/>
        <dsp:cNvSpPr/>
      </dsp:nvSpPr>
      <dsp:spPr>
        <a:xfrm>
          <a:off x="-436793" y="2041289"/>
          <a:ext cx="3165170" cy="388453"/>
        </a:xfrm>
        <a:prstGeom prst="round2SameRect">
          <a:avLst>
            <a:gd name="adj1" fmla="val 16670"/>
            <a:gd name="adj2" fmla="val 0"/>
          </a:avLst>
        </a:prstGeom>
        <a:gradFill rotWithShape="0">
          <a:gsLst>
            <a:gs pos="0">
              <a:srgbClr val="0F3859">
                <a:alpha val="90000"/>
                <a:hueOff val="0"/>
                <a:satOff val="0"/>
                <a:lumOff val="0"/>
                <a:alphaOff val="-25000"/>
                <a:shade val="51000"/>
                <a:satMod val="130000"/>
              </a:srgbClr>
            </a:gs>
            <a:gs pos="80000">
              <a:srgbClr val="0F3859">
                <a:alpha val="90000"/>
                <a:hueOff val="0"/>
                <a:satOff val="0"/>
                <a:lumOff val="0"/>
                <a:alphaOff val="-25000"/>
                <a:shade val="93000"/>
                <a:satMod val="130000"/>
              </a:srgbClr>
            </a:gs>
            <a:gs pos="100000">
              <a:srgbClr val="0F3859">
                <a:alpha val="90000"/>
                <a:hueOff val="0"/>
                <a:satOff val="0"/>
                <a:lumOff val="0"/>
                <a:alphaOff val="-25000"/>
                <a:shade val="94000"/>
                <a:satMod val="135000"/>
              </a:srgbClr>
            </a:gs>
          </a:gsLst>
          <a:lin ang="16200000" scaled="0"/>
        </a:gradFill>
        <a:ln w="9525" cap="flat" cmpd="sng" algn="ctr">
          <a:solidFill>
            <a:srgbClr val="0F3859">
              <a:alpha val="90000"/>
              <a:hueOff val="0"/>
              <a:satOff val="0"/>
              <a:lumOff val="0"/>
              <a:alphaOff val="-25000"/>
            </a:srgbClr>
          </a:solidFill>
          <a:prstDash val="solid"/>
          <a:miter lim="800000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rgbClr val="FFFFFF"/>
              </a:solidFill>
              <a:latin typeface="Arial"/>
              <a:ea typeface="+mn-ea"/>
              <a:cs typeface="+mn-cs"/>
            </a:rPr>
            <a:t>Selection</a:t>
          </a:r>
        </a:p>
      </dsp:txBody>
      <dsp:txXfrm>
        <a:off x="-417827" y="2060255"/>
        <a:ext cx="3127238" cy="369487"/>
      </dsp:txXfrm>
    </dsp:sp>
    <dsp:sp modelId="{D1E9B6C2-3809-4E79-8AB8-492295819A92}">
      <dsp:nvSpPr>
        <dsp:cNvPr id="0" name=""/>
        <dsp:cNvSpPr/>
      </dsp:nvSpPr>
      <dsp:spPr>
        <a:xfrm>
          <a:off x="1854791" y="2449165"/>
          <a:ext cx="4035840" cy="3884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b" anchorCtr="0">
          <a:noAutofit/>
        </a:bodyPr>
        <a:lstStyle/>
        <a:p>
          <a:pPr marL="0" lvl="0" indent="0" algn="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October 2026</a:t>
          </a:r>
        </a:p>
      </dsp:txBody>
      <dsp:txXfrm>
        <a:off x="1854791" y="2449165"/>
        <a:ext cx="4035840" cy="388453"/>
      </dsp:txXfrm>
    </dsp:sp>
    <dsp:sp modelId="{14E64A6B-2D77-469F-B7BB-077879857C9F}">
      <dsp:nvSpPr>
        <dsp:cNvPr id="0" name=""/>
        <dsp:cNvSpPr/>
      </dsp:nvSpPr>
      <dsp:spPr>
        <a:xfrm>
          <a:off x="-436793" y="2449165"/>
          <a:ext cx="3165170" cy="388453"/>
        </a:xfrm>
        <a:prstGeom prst="round2SameRect">
          <a:avLst>
            <a:gd name="adj1" fmla="val 16670"/>
            <a:gd name="adj2" fmla="val 0"/>
          </a:avLst>
        </a:prstGeom>
        <a:gradFill rotWithShape="0">
          <a:gsLst>
            <a:gs pos="0">
              <a:srgbClr val="0F3859">
                <a:alpha val="90000"/>
                <a:hueOff val="0"/>
                <a:satOff val="0"/>
                <a:lumOff val="0"/>
                <a:alphaOff val="-30000"/>
                <a:shade val="51000"/>
                <a:satMod val="130000"/>
              </a:srgbClr>
            </a:gs>
            <a:gs pos="80000">
              <a:srgbClr val="0F3859">
                <a:alpha val="90000"/>
                <a:hueOff val="0"/>
                <a:satOff val="0"/>
                <a:lumOff val="0"/>
                <a:alphaOff val="-30000"/>
                <a:shade val="93000"/>
                <a:satMod val="130000"/>
              </a:srgbClr>
            </a:gs>
            <a:gs pos="100000">
              <a:srgbClr val="0F3859">
                <a:alpha val="90000"/>
                <a:hueOff val="0"/>
                <a:satOff val="0"/>
                <a:lumOff val="0"/>
                <a:alphaOff val="-30000"/>
                <a:shade val="94000"/>
                <a:satMod val="135000"/>
              </a:srgbClr>
            </a:gs>
          </a:gsLst>
          <a:lin ang="16200000" scaled="0"/>
        </a:gradFill>
        <a:ln w="9525" cap="flat" cmpd="sng" algn="ctr">
          <a:solidFill>
            <a:srgbClr val="0F3859">
              <a:alpha val="90000"/>
              <a:hueOff val="0"/>
              <a:satOff val="0"/>
              <a:lumOff val="0"/>
              <a:alphaOff val="-30000"/>
            </a:srgbClr>
          </a:solidFill>
          <a:prstDash val="solid"/>
          <a:miter lim="800000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rgbClr val="FFFFFF"/>
              </a:solidFill>
              <a:latin typeface="Arial"/>
              <a:ea typeface="+mn-ea"/>
              <a:cs typeface="+mn-cs"/>
            </a:rPr>
            <a:t>Complete Negotiations </a:t>
          </a:r>
        </a:p>
      </dsp:txBody>
      <dsp:txXfrm>
        <a:off x="-417827" y="2468131"/>
        <a:ext cx="3127238" cy="369487"/>
      </dsp:txXfrm>
    </dsp:sp>
    <dsp:sp modelId="{E6553C32-F345-4873-B274-4992EBC40F9F}">
      <dsp:nvSpPr>
        <dsp:cNvPr id="0" name=""/>
        <dsp:cNvSpPr/>
      </dsp:nvSpPr>
      <dsp:spPr>
        <a:xfrm>
          <a:off x="1854791" y="2857042"/>
          <a:ext cx="4035840" cy="3884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b" anchorCtr="0">
          <a:noAutofit/>
        </a:bodyPr>
        <a:lstStyle/>
        <a:p>
          <a:pPr marL="0" lvl="0" indent="0" algn="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December 2026</a:t>
          </a:r>
        </a:p>
      </dsp:txBody>
      <dsp:txXfrm>
        <a:off x="1854791" y="2857042"/>
        <a:ext cx="4035840" cy="388453"/>
      </dsp:txXfrm>
    </dsp:sp>
    <dsp:sp modelId="{64EAB587-9BD7-4CFD-A0F8-9F6E9481685A}">
      <dsp:nvSpPr>
        <dsp:cNvPr id="0" name=""/>
        <dsp:cNvSpPr/>
      </dsp:nvSpPr>
      <dsp:spPr>
        <a:xfrm>
          <a:off x="-436793" y="2857042"/>
          <a:ext cx="3165170" cy="388453"/>
        </a:xfrm>
        <a:prstGeom prst="round2SameRect">
          <a:avLst>
            <a:gd name="adj1" fmla="val 16670"/>
            <a:gd name="adj2" fmla="val 0"/>
          </a:avLst>
        </a:prstGeom>
        <a:gradFill rotWithShape="0">
          <a:gsLst>
            <a:gs pos="0">
              <a:srgbClr val="0F3859">
                <a:alpha val="90000"/>
                <a:hueOff val="0"/>
                <a:satOff val="0"/>
                <a:lumOff val="0"/>
                <a:alphaOff val="-35000"/>
                <a:shade val="51000"/>
                <a:satMod val="130000"/>
              </a:srgbClr>
            </a:gs>
            <a:gs pos="80000">
              <a:srgbClr val="0F3859">
                <a:alpha val="90000"/>
                <a:hueOff val="0"/>
                <a:satOff val="0"/>
                <a:lumOff val="0"/>
                <a:alphaOff val="-35000"/>
                <a:shade val="93000"/>
                <a:satMod val="130000"/>
              </a:srgbClr>
            </a:gs>
            <a:gs pos="100000">
              <a:srgbClr val="0F3859">
                <a:alpha val="90000"/>
                <a:hueOff val="0"/>
                <a:satOff val="0"/>
                <a:lumOff val="0"/>
                <a:alphaOff val="-35000"/>
                <a:shade val="94000"/>
                <a:satMod val="135000"/>
              </a:srgbClr>
            </a:gs>
          </a:gsLst>
          <a:lin ang="16200000" scaled="0"/>
        </a:gradFill>
        <a:ln w="9525" cap="flat" cmpd="sng" algn="ctr">
          <a:solidFill>
            <a:srgbClr val="0F3859">
              <a:alpha val="90000"/>
              <a:hueOff val="0"/>
              <a:satOff val="0"/>
              <a:lumOff val="0"/>
              <a:alphaOff val="-35000"/>
            </a:srgbClr>
          </a:solidFill>
          <a:prstDash val="solid"/>
          <a:miter lim="800000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rgbClr val="FFFFFF"/>
              </a:solidFill>
              <a:latin typeface="Arial"/>
              <a:ea typeface="+mn-ea"/>
              <a:cs typeface="+mn-cs"/>
            </a:rPr>
            <a:t>Contract Execution</a:t>
          </a:r>
        </a:p>
      </dsp:txBody>
      <dsp:txXfrm>
        <a:off x="-417827" y="2876008"/>
        <a:ext cx="3127238" cy="369487"/>
      </dsp:txXfrm>
    </dsp:sp>
    <dsp:sp modelId="{F4A6F602-B49E-4C01-A123-8450F84008E2}">
      <dsp:nvSpPr>
        <dsp:cNvPr id="0" name=""/>
        <dsp:cNvSpPr/>
      </dsp:nvSpPr>
      <dsp:spPr>
        <a:xfrm>
          <a:off x="1854791" y="3264918"/>
          <a:ext cx="4035840" cy="3884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618A078-3330-48BE-88DF-DB5D10E2EBBB}">
      <dsp:nvSpPr>
        <dsp:cNvPr id="0" name=""/>
        <dsp:cNvSpPr/>
      </dsp:nvSpPr>
      <dsp:spPr>
        <a:xfrm>
          <a:off x="-436793" y="3264918"/>
          <a:ext cx="3165170" cy="388453"/>
        </a:xfrm>
        <a:prstGeom prst="round2SameRect">
          <a:avLst>
            <a:gd name="adj1" fmla="val 16670"/>
            <a:gd name="adj2" fmla="val 0"/>
          </a:avLst>
        </a:prstGeom>
        <a:gradFill rotWithShape="0">
          <a:gsLst>
            <a:gs pos="0">
              <a:srgbClr val="0F3859">
                <a:alpha val="90000"/>
                <a:hueOff val="0"/>
                <a:satOff val="0"/>
                <a:lumOff val="0"/>
                <a:alphaOff val="-40000"/>
                <a:shade val="51000"/>
                <a:satMod val="130000"/>
              </a:srgbClr>
            </a:gs>
            <a:gs pos="80000">
              <a:srgbClr val="0F3859">
                <a:alpha val="90000"/>
                <a:hueOff val="0"/>
                <a:satOff val="0"/>
                <a:lumOff val="0"/>
                <a:alphaOff val="-40000"/>
                <a:shade val="93000"/>
                <a:satMod val="130000"/>
              </a:srgbClr>
            </a:gs>
            <a:gs pos="100000">
              <a:srgbClr val="0F3859">
                <a:alpha val="90000"/>
                <a:hueOff val="0"/>
                <a:satOff val="0"/>
                <a:lumOff val="0"/>
                <a:alphaOff val="-40000"/>
                <a:shade val="94000"/>
                <a:satMod val="135000"/>
              </a:srgbClr>
            </a:gs>
          </a:gsLst>
          <a:lin ang="16200000" scaled="0"/>
        </a:gradFill>
        <a:ln w="9525" cap="flat" cmpd="sng" algn="ctr">
          <a:solidFill>
            <a:srgbClr val="0F3859">
              <a:alpha val="90000"/>
              <a:hueOff val="0"/>
              <a:satOff val="0"/>
              <a:lumOff val="0"/>
              <a:alphaOff val="-40000"/>
            </a:srgbClr>
          </a:solidFill>
          <a:prstDash val="solid"/>
          <a:miter lim="800000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rgbClr val="FFFFFF"/>
              </a:solidFill>
              <a:latin typeface="Arial"/>
              <a:ea typeface="+mn-ea"/>
              <a:cs typeface="+mn-cs"/>
            </a:rPr>
            <a:t>Debriefs to be held after selection</a:t>
          </a:r>
        </a:p>
      </dsp:txBody>
      <dsp:txXfrm>
        <a:off x="-417827" y="3283884"/>
        <a:ext cx="3127238" cy="369487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04998AA-9370-4DA8-932D-462AE9B88D67}">
      <dsp:nvSpPr>
        <dsp:cNvPr id="0" name=""/>
        <dsp:cNvSpPr/>
      </dsp:nvSpPr>
      <dsp:spPr>
        <a:xfrm rot="16200000">
          <a:off x="-717272" y="719210"/>
          <a:ext cx="3340009" cy="1901587"/>
        </a:xfrm>
        <a:prstGeom prst="flowChartManualOperation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0800" dist="38100" algn="l" rotWithShape="0">
            <a:prstClr val="black">
              <a:alpha val="40000"/>
            </a:prst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5250" tIns="0" rIns="96636" bIns="0" numCol="1" spcCol="1270" anchor="ctr" anchorCtr="0">
          <a:noAutofit/>
        </a:bodyPr>
        <a:lstStyle/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Be aware that a Q&amp;A document might be posted and if needed an addendum </a:t>
          </a:r>
        </a:p>
      </dsp:txBody>
      <dsp:txXfrm rot="5400000">
        <a:off x="1939" y="668001"/>
        <a:ext cx="1901587" cy="2004005"/>
      </dsp:txXfrm>
    </dsp:sp>
    <dsp:sp modelId="{43CEC55B-3587-4A98-B54B-48907F4B27F2}">
      <dsp:nvSpPr>
        <dsp:cNvPr id="0" name=""/>
        <dsp:cNvSpPr/>
      </dsp:nvSpPr>
      <dsp:spPr>
        <a:xfrm rot="16200000">
          <a:off x="1326933" y="719210"/>
          <a:ext cx="3340009" cy="1901587"/>
        </a:xfrm>
        <a:prstGeom prst="flowChartManualOperation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0800" dist="38100" algn="l" rotWithShape="0">
            <a:prstClr val="black">
              <a:alpha val="40000"/>
            </a:prst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5250" tIns="0" rIns="96636" bIns="0" numCol="1" spcCol="1270" anchor="ctr" anchorCtr="0">
          <a:noAutofit/>
        </a:bodyPr>
        <a:lstStyle/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Keep current on updates for Fiscal Year 2027 Projected Contract Lists on the TxDOT PEPS website</a:t>
          </a:r>
        </a:p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>
              <a:solidFill>
                <a:srgbClr val="FFFF00"/>
              </a:solidFill>
              <a:hlinkClick xmlns:r="http://schemas.openxmlformats.org/officeDocument/2006/relationships" r:id="rId1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Business opportunities</a:t>
          </a:r>
          <a:endParaRPr lang="en-US" sz="1500" kern="1200" dirty="0">
            <a:solidFill>
              <a:srgbClr val="FFFF00"/>
            </a:solidFill>
          </a:endParaRPr>
        </a:p>
      </dsp:txBody>
      <dsp:txXfrm rot="5400000">
        <a:off x="2046144" y="668001"/>
        <a:ext cx="1901587" cy="2004005"/>
      </dsp:txXfrm>
    </dsp:sp>
    <dsp:sp modelId="{427D0D2D-3DE5-4063-B9AF-DC18FAB8E5FE}">
      <dsp:nvSpPr>
        <dsp:cNvPr id="0" name=""/>
        <dsp:cNvSpPr/>
      </dsp:nvSpPr>
      <dsp:spPr>
        <a:xfrm rot="16200000">
          <a:off x="3371139" y="719210"/>
          <a:ext cx="3340009" cy="1901587"/>
        </a:xfrm>
        <a:prstGeom prst="flowChartManualOperation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0800" dist="38100" algn="l" rotWithShape="0">
            <a:prstClr val="black">
              <a:alpha val="40000"/>
            </a:prst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5250" tIns="0" rIns="96636" bIns="0" numCol="1" spcCol="1270" anchor="ctr" anchorCtr="0">
          <a:noAutofit/>
        </a:bodyPr>
        <a:lstStyle/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Review the updated Euna Frequently Asked Questions</a:t>
          </a:r>
        </a:p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>
              <a:solidFill>
                <a:srgbClr val="FFFF00"/>
              </a:solidFill>
              <a:hlinkClick xmlns:r="http://schemas.openxmlformats.org/officeDocument/2006/relationships" r:id="rId2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Frequently Asked Questions (FAQs) For Vendors Using Bonfire (txdot.gov)</a:t>
          </a:r>
          <a:endParaRPr lang="en-US" sz="1500" kern="1200" dirty="0">
            <a:solidFill>
              <a:srgbClr val="FFFF00"/>
            </a:solidFill>
          </a:endParaRPr>
        </a:p>
      </dsp:txBody>
      <dsp:txXfrm rot="5400000">
        <a:off x="4090350" y="668001"/>
        <a:ext cx="1901587" cy="2004005"/>
      </dsp:txXfrm>
    </dsp:sp>
    <dsp:sp modelId="{0629F4F0-AE75-4EAD-B852-B173D0B4F8E8}">
      <dsp:nvSpPr>
        <dsp:cNvPr id="0" name=""/>
        <dsp:cNvSpPr/>
      </dsp:nvSpPr>
      <dsp:spPr>
        <a:xfrm rot="16200000">
          <a:off x="5415345" y="719210"/>
          <a:ext cx="3340009" cy="1901587"/>
        </a:xfrm>
        <a:prstGeom prst="flowChartManualOperation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0800" dist="38100" algn="l" rotWithShape="0">
            <a:prstClr val="black">
              <a:alpha val="40000"/>
            </a:prst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5250" tIns="0" rIns="96636" bIns="0" numCol="1" spcCol="1270" anchor="ctr" anchorCtr="0">
          <a:noAutofit/>
        </a:bodyPr>
        <a:lstStyle/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Take advantage of PEPS Fireside Chats</a:t>
          </a:r>
        </a:p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>
              <a:solidFill>
                <a:srgbClr val="FFFF00"/>
              </a:solidFill>
              <a:hlinkClick xmlns:r="http://schemas.openxmlformats.org/officeDocument/2006/relationships" r:id="rId3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Training and events (txdot.gov)</a:t>
          </a:r>
          <a:endParaRPr lang="en-US" sz="1500" kern="1200" dirty="0">
            <a:solidFill>
              <a:srgbClr val="FFFF00"/>
            </a:solidFill>
          </a:endParaRPr>
        </a:p>
      </dsp:txBody>
      <dsp:txXfrm rot="5400000">
        <a:off x="6134556" y="668001"/>
        <a:ext cx="1901587" cy="200400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F0BB0CF-2B57-4A80-8AA0-A7BF74D70499}">
      <dsp:nvSpPr>
        <dsp:cNvPr id="0" name=""/>
        <dsp:cNvSpPr/>
      </dsp:nvSpPr>
      <dsp:spPr>
        <a:xfrm>
          <a:off x="0" y="0"/>
          <a:ext cx="8139799" cy="85891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l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i="1" u="none" kern="1200" dirty="0"/>
            <a:t>Non-Federal with Interviews</a:t>
          </a:r>
        </a:p>
        <a:p>
          <a:pPr marL="0" lvl="0" indent="0" algn="l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kern="1200" dirty="0"/>
            <a:t>145 working days from RFP kick-off to contract execution</a:t>
          </a:r>
          <a:endParaRPr lang="en-US" sz="1900" u="none" kern="1200" dirty="0"/>
        </a:p>
      </dsp:txBody>
      <dsp:txXfrm>
        <a:off x="25157" y="25157"/>
        <a:ext cx="8089485" cy="80859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8BD37BA-AB81-48A7-973F-BF2E422F8815}">
      <dsp:nvSpPr>
        <dsp:cNvPr id="0" name=""/>
        <dsp:cNvSpPr/>
      </dsp:nvSpPr>
      <dsp:spPr>
        <a:xfrm>
          <a:off x="-507368" y="0"/>
          <a:ext cx="6764938" cy="82683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Proposal Evaluation 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0" kern="1200" dirty="0"/>
            <a:t>Short-listed providers move to the interview phase</a:t>
          </a:r>
        </a:p>
      </dsp:txBody>
      <dsp:txXfrm>
        <a:off x="-483151" y="24217"/>
        <a:ext cx="5723820" cy="778397"/>
      </dsp:txXfrm>
    </dsp:sp>
    <dsp:sp modelId="{C590E2DC-6879-447D-BEC9-3D5E9660EAC6}">
      <dsp:nvSpPr>
        <dsp:cNvPr id="0" name=""/>
        <dsp:cNvSpPr/>
      </dsp:nvSpPr>
      <dsp:spPr>
        <a:xfrm>
          <a:off x="55232" y="964637"/>
          <a:ext cx="6654477" cy="82683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Interview Evaluation</a:t>
          </a:r>
          <a:endParaRPr lang="en-US" sz="1600" kern="1200" dirty="0"/>
        </a:p>
      </dsp:txBody>
      <dsp:txXfrm>
        <a:off x="79449" y="988854"/>
        <a:ext cx="5396924" cy="778397"/>
      </dsp:txXfrm>
    </dsp:sp>
    <dsp:sp modelId="{23AF7685-0CF2-4454-9D77-2CD6DF2CF549}">
      <dsp:nvSpPr>
        <dsp:cNvPr id="0" name=""/>
        <dsp:cNvSpPr/>
      </dsp:nvSpPr>
      <dsp:spPr>
        <a:xfrm>
          <a:off x="507372" y="1929274"/>
          <a:ext cx="6764938" cy="82683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Selection</a:t>
          </a:r>
          <a:endParaRPr lang="en-US" sz="1600" kern="1200" dirty="0"/>
        </a:p>
      </dsp:txBody>
      <dsp:txXfrm>
        <a:off x="531589" y="1953491"/>
        <a:ext cx="5487315" cy="778397"/>
      </dsp:txXfrm>
    </dsp:sp>
    <dsp:sp modelId="{C21BFC84-AEEF-4B3F-8157-5CA6D07D96E6}">
      <dsp:nvSpPr>
        <dsp:cNvPr id="0" name=""/>
        <dsp:cNvSpPr/>
      </dsp:nvSpPr>
      <dsp:spPr>
        <a:xfrm>
          <a:off x="5212760" y="627014"/>
          <a:ext cx="537440" cy="537440"/>
        </a:xfrm>
        <a:prstGeom prst="downArrow">
          <a:avLst>
            <a:gd name="adj1" fmla="val 55000"/>
            <a:gd name="adj2" fmla="val 45000"/>
          </a:avLst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400" kern="1200"/>
        </a:p>
      </dsp:txBody>
      <dsp:txXfrm>
        <a:off x="5333684" y="627014"/>
        <a:ext cx="295592" cy="404424"/>
      </dsp:txXfrm>
    </dsp:sp>
    <dsp:sp modelId="{E53742DA-1351-494C-AB6C-C36D36C764E9}">
      <dsp:nvSpPr>
        <dsp:cNvPr id="0" name=""/>
        <dsp:cNvSpPr/>
      </dsp:nvSpPr>
      <dsp:spPr>
        <a:xfrm>
          <a:off x="5720130" y="1586139"/>
          <a:ext cx="537440" cy="537440"/>
        </a:xfrm>
        <a:prstGeom prst="downArrow">
          <a:avLst>
            <a:gd name="adj1" fmla="val 55000"/>
            <a:gd name="adj2" fmla="val 45000"/>
          </a:avLst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400" kern="1200"/>
        </a:p>
      </dsp:txBody>
      <dsp:txXfrm>
        <a:off x="5841054" y="1586139"/>
        <a:ext cx="295592" cy="40442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23FE057-4A17-4699-A55B-B5C13C297498}">
      <dsp:nvSpPr>
        <dsp:cNvPr id="0" name=""/>
        <dsp:cNvSpPr/>
      </dsp:nvSpPr>
      <dsp:spPr>
        <a:xfrm>
          <a:off x="31" y="75083"/>
          <a:ext cx="3030701" cy="432000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680" tIns="60960" rIns="106680" bIns="60960" numCol="1" spcCol="1270" anchor="ctr" anchorCtr="0">
          <a:noAutofit/>
        </a:bodyPr>
        <a:lstStyle/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i="1" u="none" kern="1200" dirty="0"/>
            <a:t>Key Items</a:t>
          </a:r>
          <a:endParaRPr lang="en-US" sz="1500" u="none" kern="1200" dirty="0"/>
        </a:p>
      </dsp:txBody>
      <dsp:txXfrm>
        <a:off x="31" y="75083"/>
        <a:ext cx="3030701" cy="432000"/>
      </dsp:txXfrm>
    </dsp:sp>
    <dsp:sp modelId="{98ADE268-8408-4D3A-B2B5-8C157CA255C1}">
      <dsp:nvSpPr>
        <dsp:cNvPr id="0" name=""/>
        <dsp:cNvSpPr/>
      </dsp:nvSpPr>
      <dsp:spPr>
        <a:xfrm>
          <a:off x="31" y="507083"/>
          <a:ext cx="3030701" cy="2848795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106680" bIns="120015" numCol="1" spcCol="1270" anchor="t" anchorCtr="0">
          <a:noAutofit/>
        </a:bodyPr>
        <a:lstStyle/>
        <a:p>
          <a:pPr marL="114300" lvl="1" indent="-114300" algn="l" defTabSz="6667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b="1" kern="1200" dirty="0"/>
            <a:t>RFP Reminders</a:t>
          </a:r>
          <a:endParaRPr lang="en-US" sz="1500" kern="1200" dirty="0"/>
        </a:p>
        <a:p>
          <a:pPr marL="228600" lvl="2" indent="-114300" algn="l" defTabSz="6667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b="1" kern="1200" dirty="0"/>
            <a:t>Submit to Euna using the correct formats</a:t>
          </a:r>
          <a:endParaRPr lang="en-US" sz="1500" kern="1200" dirty="0"/>
        </a:p>
        <a:p>
          <a:pPr marL="228600" lvl="2" indent="-114300" algn="l" defTabSz="6667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b="1" kern="1200" dirty="0"/>
            <a:t>Submit all applicable information required </a:t>
          </a:r>
          <a:endParaRPr lang="en-US" sz="1500" kern="1200" dirty="0"/>
        </a:p>
        <a:p>
          <a:pPr marL="228600" lvl="2" indent="-114300" algn="l" defTabSz="6667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b="1" kern="1200" dirty="0"/>
            <a:t>Past performance will be captured at the RFP</a:t>
          </a:r>
        </a:p>
        <a:p>
          <a:pPr marL="228600" lvl="2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b="1" kern="1200" dirty="0"/>
            <a:t>Make sure to follow the RFP </a:t>
          </a:r>
        </a:p>
      </dsp:txBody>
      <dsp:txXfrm>
        <a:off x="31" y="507083"/>
        <a:ext cx="3030701" cy="2848795"/>
      </dsp:txXfrm>
    </dsp:sp>
    <dsp:sp modelId="{3B3D8962-D554-442F-B05D-8D6F114307A7}">
      <dsp:nvSpPr>
        <dsp:cNvPr id="0" name=""/>
        <dsp:cNvSpPr/>
      </dsp:nvSpPr>
      <dsp:spPr>
        <a:xfrm>
          <a:off x="3455031" y="75083"/>
          <a:ext cx="3030701" cy="432000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680" tIns="60960" rIns="106680" bIns="60960" numCol="1" spcCol="1270" anchor="ctr" anchorCtr="0">
          <a:noAutofit/>
        </a:bodyPr>
        <a:lstStyle/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i="1" u="none" kern="1200" dirty="0"/>
            <a:t>Avoid Disqualifications</a:t>
          </a:r>
        </a:p>
      </dsp:txBody>
      <dsp:txXfrm>
        <a:off x="3455031" y="75083"/>
        <a:ext cx="3030701" cy="432000"/>
      </dsp:txXfrm>
    </dsp:sp>
    <dsp:sp modelId="{D86CBA07-80A2-40FA-BDD3-5F66604E3D21}">
      <dsp:nvSpPr>
        <dsp:cNvPr id="0" name=""/>
        <dsp:cNvSpPr/>
      </dsp:nvSpPr>
      <dsp:spPr>
        <a:xfrm>
          <a:off x="3455031" y="507083"/>
          <a:ext cx="3030701" cy="2848795"/>
        </a:xfrm>
        <a:prstGeom prst="rect">
          <a:avLst/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106680" bIns="120015" numCol="1" spcCol="1270" anchor="t" anchorCtr="0">
          <a:noAutofit/>
        </a:bodyPr>
        <a:lstStyle/>
        <a:p>
          <a:pPr marL="114300" lvl="1" indent="-114300" algn="l" defTabSz="6667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kern="1200" dirty="0"/>
            <a:t>Submit before the deadline</a:t>
          </a:r>
        </a:p>
        <a:p>
          <a:pPr marL="114300" lvl="1" indent="-114300" algn="l" defTabSz="6667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kern="1200" dirty="0"/>
            <a:t>QA/QC the submittal by referring directly to the RFP to avoid disqualifications</a:t>
          </a:r>
        </a:p>
        <a:p>
          <a:pPr marL="114300" lvl="1" indent="-114300" algn="l" defTabSz="6667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kern="1200" dirty="0"/>
            <a:t>Check that all mandatory forms are in your submittal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kern="1200" dirty="0"/>
            <a:t>Verify Task Leaders are pre-certified in standard work categories</a:t>
          </a:r>
        </a:p>
        <a:p>
          <a:pPr marL="114300" lvl="1" indent="-114300" algn="l" defTabSz="6667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kern="1200" dirty="0"/>
            <a:t>Verify PM and TLs are matching in PTC and proposal</a:t>
          </a:r>
        </a:p>
      </dsp:txBody>
      <dsp:txXfrm>
        <a:off x="3455031" y="507083"/>
        <a:ext cx="3030701" cy="2848795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B110139-14C4-4D18-A8CF-416155248A9F}">
      <dsp:nvSpPr>
        <dsp:cNvPr id="0" name=""/>
        <dsp:cNvSpPr/>
      </dsp:nvSpPr>
      <dsp:spPr>
        <a:xfrm>
          <a:off x="1446980" y="1349341"/>
          <a:ext cx="1055479" cy="1055479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Interview Contract Guide (ICG)</a:t>
          </a:r>
        </a:p>
      </dsp:txBody>
      <dsp:txXfrm>
        <a:off x="1601551" y="1503912"/>
        <a:ext cx="746337" cy="746337"/>
      </dsp:txXfrm>
    </dsp:sp>
    <dsp:sp modelId="{8108BAB6-51D1-41DA-A92A-0DB29F18C8FF}">
      <dsp:nvSpPr>
        <dsp:cNvPr id="0" name=""/>
        <dsp:cNvSpPr/>
      </dsp:nvSpPr>
      <dsp:spPr>
        <a:xfrm rot="5400000">
          <a:off x="1905848" y="1112813"/>
          <a:ext cx="137743" cy="220960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800" kern="1200"/>
        </a:p>
      </dsp:txBody>
      <dsp:txXfrm>
        <a:off x="1926510" y="1136344"/>
        <a:ext cx="96420" cy="132576"/>
      </dsp:txXfrm>
    </dsp:sp>
    <dsp:sp modelId="{757EFE06-4AC3-44F6-BE70-ED76CCB4B848}">
      <dsp:nvSpPr>
        <dsp:cNvPr id="0" name=""/>
        <dsp:cNvSpPr/>
      </dsp:nvSpPr>
      <dsp:spPr>
        <a:xfrm>
          <a:off x="1432941" y="5891"/>
          <a:ext cx="1083556" cy="1083556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Outlines the interview date, time and location*</a:t>
          </a:r>
        </a:p>
      </dsp:txBody>
      <dsp:txXfrm>
        <a:off x="1591624" y="164574"/>
        <a:ext cx="766190" cy="766190"/>
      </dsp:txXfrm>
    </dsp:sp>
    <dsp:sp modelId="{D9BCD0C3-BADA-455D-9952-BCFA7068F67A}">
      <dsp:nvSpPr>
        <dsp:cNvPr id="0" name=""/>
        <dsp:cNvSpPr/>
      </dsp:nvSpPr>
      <dsp:spPr>
        <a:xfrm rot="9000000">
          <a:off x="2472045" y="1439707"/>
          <a:ext cx="137743" cy="220960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hueOff val="1686287"/>
                <a:satOff val="-5677"/>
                <a:lumOff val="-4078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1686287"/>
                <a:satOff val="-5677"/>
                <a:lumOff val="-4078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1686287"/>
                <a:satOff val="-5677"/>
                <a:lumOff val="-4078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800" kern="1200"/>
        </a:p>
      </dsp:txBody>
      <dsp:txXfrm>
        <a:off x="2510600" y="1473568"/>
        <a:ext cx="96420" cy="132576"/>
      </dsp:txXfrm>
    </dsp:sp>
    <dsp:sp modelId="{41E1B2BE-75D7-44A8-963D-EEF8344639DE}">
      <dsp:nvSpPr>
        <dsp:cNvPr id="0" name=""/>
        <dsp:cNvSpPr/>
      </dsp:nvSpPr>
      <dsp:spPr>
        <a:xfrm>
          <a:off x="2584245" y="670597"/>
          <a:ext cx="1083556" cy="1083556"/>
        </a:xfrm>
        <a:prstGeom prst="ellipse">
          <a:avLst/>
        </a:prstGeom>
        <a:gradFill rotWithShape="0">
          <a:gsLst>
            <a:gs pos="0">
              <a:schemeClr val="accent2">
                <a:hueOff val="1686287"/>
                <a:satOff val="-5677"/>
                <a:lumOff val="-4078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1686287"/>
                <a:satOff val="-5677"/>
                <a:lumOff val="-4078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1686287"/>
                <a:satOff val="-5677"/>
                <a:lumOff val="-4078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Outlines the interview structure</a:t>
          </a:r>
        </a:p>
      </dsp:txBody>
      <dsp:txXfrm>
        <a:off x="2742928" y="829280"/>
        <a:ext cx="766190" cy="766190"/>
      </dsp:txXfrm>
    </dsp:sp>
    <dsp:sp modelId="{BAF9358C-BA6E-4CE8-A370-C14E6781E32E}">
      <dsp:nvSpPr>
        <dsp:cNvPr id="0" name=""/>
        <dsp:cNvSpPr/>
      </dsp:nvSpPr>
      <dsp:spPr>
        <a:xfrm rot="12540000">
          <a:off x="2472045" y="2093495"/>
          <a:ext cx="137743" cy="220960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hueOff val="3372574"/>
                <a:satOff val="-11354"/>
                <a:lumOff val="-8156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3372574"/>
                <a:satOff val="-11354"/>
                <a:lumOff val="-8156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3372574"/>
                <a:satOff val="-11354"/>
                <a:lumOff val="-8156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800" kern="1200"/>
        </a:p>
      </dsp:txBody>
      <dsp:txXfrm>
        <a:off x="2510777" y="2147704"/>
        <a:ext cx="96420" cy="132576"/>
      </dsp:txXfrm>
    </dsp:sp>
    <dsp:sp modelId="{BDAB8EA1-8560-4589-B3C9-3D9BA7BCCB10}">
      <dsp:nvSpPr>
        <dsp:cNvPr id="0" name=""/>
        <dsp:cNvSpPr/>
      </dsp:nvSpPr>
      <dsp:spPr>
        <a:xfrm>
          <a:off x="2584245" y="2000008"/>
          <a:ext cx="1083556" cy="1083556"/>
        </a:xfrm>
        <a:prstGeom prst="ellipse">
          <a:avLst/>
        </a:prstGeom>
        <a:gradFill rotWithShape="0">
          <a:gsLst>
            <a:gs pos="0">
              <a:schemeClr val="accent2">
                <a:hueOff val="3372574"/>
                <a:satOff val="-11354"/>
                <a:lumOff val="-8156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3372574"/>
                <a:satOff val="-11354"/>
                <a:lumOff val="-8156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3372574"/>
                <a:satOff val="-11354"/>
                <a:lumOff val="-8156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Includes the interview presentation content paragraph</a:t>
          </a:r>
        </a:p>
      </dsp:txBody>
      <dsp:txXfrm>
        <a:off x="2742928" y="2158691"/>
        <a:ext cx="766190" cy="766190"/>
      </dsp:txXfrm>
    </dsp:sp>
    <dsp:sp modelId="{9B44AFD3-C119-4C6D-9EC1-518366EB4EBA}">
      <dsp:nvSpPr>
        <dsp:cNvPr id="0" name=""/>
        <dsp:cNvSpPr/>
      </dsp:nvSpPr>
      <dsp:spPr>
        <a:xfrm rot="16200000">
          <a:off x="1905848" y="2420389"/>
          <a:ext cx="137743" cy="220960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hueOff val="5058862"/>
                <a:satOff val="-17032"/>
                <a:lumOff val="-12233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5058862"/>
                <a:satOff val="-17032"/>
                <a:lumOff val="-12233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5058862"/>
                <a:satOff val="-17032"/>
                <a:lumOff val="-12233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800" kern="1200"/>
        </a:p>
      </dsp:txBody>
      <dsp:txXfrm>
        <a:off x="1926510" y="2485243"/>
        <a:ext cx="96420" cy="132576"/>
      </dsp:txXfrm>
    </dsp:sp>
    <dsp:sp modelId="{8154AE83-FCD7-4DCC-84AD-F8314D1C9042}">
      <dsp:nvSpPr>
        <dsp:cNvPr id="0" name=""/>
        <dsp:cNvSpPr/>
      </dsp:nvSpPr>
      <dsp:spPr>
        <a:xfrm>
          <a:off x="1432941" y="2664714"/>
          <a:ext cx="1083556" cy="1083556"/>
        </a:xfrm>
        <a:prstGeom prst="ellipse">
          <a:avLst/>
        </a:prstGeom>
        <a:gradFill rotWithShape="0">
          <a:gsLst>
            <a:gs pos="0">
              <a:schemeClr val="accent2">
                <a:hueOff val="5058862"/>
                <a:satOff val="-17032"/>
                <a:lumOff val="-12233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5058862"/>
                <a:satOff val="-17032"/>
                <a:lumOff val="-12233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5058862"/>
                <a:satOff val="-17032"/>
                <a:lumOff val="-12233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Identifies the evaluation criteria</a:t>
          </a:r>
        </a:p>
      </dsp:txBody>
      <dsp:txXfrm>
        <a:off x="1591624" y="2823397"/>
        <a:ext cx="766190" cy="766190"/>
      </dsp:txXfrm>
    </dsp:sp>
    <dsp:sp modelId="{F8E5CF0F-1DB9-4852-9788-D6C326BD42A7}">
      <dsp:nvSpPr>
        <dsp:cNvPr id="0" name=""/>
        <dsp:cNvSpPr/>
      </dsp:nvSpPr>
      <dsp:spPr>
        <a:xfrm rot="19440000">
          <a:off x="1339651" y="2093495"/>
          <a:ext cx="137743" cy="220960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hueOff val="6745149"/>
                <a:satOff val="-22709"/>
                <a:lumOff val="-16311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6745149"/>
                <a:satOff val="-22709"/>
                <a:lumOff val="-16311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6745149"/>
                <a:satOff val="-22709"/>
                <a:lumOff val="-16311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800" kern="1200"/>
        </a:p>
      </dsp:txBody>
      <dsp:txXfrm rot="10800000">
        <a:off x="1343597" y="2149832"/>
        <a:ext cx="96420" cy="132576"/>
      </dsp:txXfrm>
    </dsp:sp>
    <dsp:sp modelId="{BB7FE920-BD78-4D46-A3C8-867CEE5BD367}">
      <dsp:nvSpPr>
        <dsp:cNvPr id="0" name=""/>
        <dsp:cNvSpPr/>
      </dsp:nvSpPr>
      <dsp:spPr>
        <a:xfrm>
          <a:off x="281637" y="2000008"/>
          <a:ext cx="1083556" cy="1083556"/>
        </a:xfrm>
        <a:prstGeom prst="ellipse">
          <a:avLst/>
        </a:prstGeom>
        <a:gradFill rotWithShape="0">
          <a:gsLst>
            <a:gs pos="0">
              <a:schemeClr val="accent2">
                <a:hueOff val="6745149"/>
                <a:satOff val="-22709"/>
                <a:lumOff val="-16311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6745149"/>
                <a:satOff val="-22709"/>
                <a:lumOff val="-16311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6745149"/>
                <a:satOff val="-22709"/>
                <a:lumOff val="-16311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Includes Attachment B – Services to be provided by the State</a:t>
          </a:r>
        </a:p>
      </dsp:txBody>
      <dsp:txXfrm>
        <a:off x="440320" y="2158691"/>
        <a:ext cx="766190" cy="766190"/>
      </dsp:txXfrm>
    </dsp:sp>
    <dsp:sp modelId="{471A388A-8B36-49F6-9E6D-25F5C16913A3}">
      <dsp:nvSpPr>
        <dsp:cNvPr id="0" name=""/>
        <dsp:cNvSpPr/>
      </dsp:nvSpPr>
      <dsp:spPr>
        <a:xfrm rot="1440000">
          <a:off x="1339651" y="1439707"/>
          <a:ext cx="137743" cy="220960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hueOff val="8431436"/>
                <a:satOff val="-28386"/>
                <a:lumOff val="-20389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8431436"/>
                <a:satOff val="-28386"/>
                <a:lumOff val="-20389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8431436"/>
                <a:satOff val="-28386"/>
                <a:lumOff val="-20389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800" kern="1200"/>
        </a:p>
      </dsp:txBody>
      <dsp:txXfrm rot="10800000">
        <a:off x="1341437" y="1475495"/>
        <a:ext cx="96420" cy="132576"/>
      </dsp:txXfrm>
    </dsp:sp>
    <dsp:sp modelId="{1E836A5F-B47B-4B55-A77F-389CDA18E703}">
      <dsp:nvSpPr>
        <dsp:cNvPr id="0" name=""/>
        <dsp:cNvSpPr/>
      </dsp:nvSpPr>
      <dsp:spPr>
        <a:xfrm>
          <a:off x="281637" y="670597"/>
          <a:ext cx="1083556" cy="1083556"/>
        </a:xfrm>
        <a:prstGeom prst="ellipse">
          <a:avLst/>
        </a:prstGeom>
        <a:gradFill rotWithShape="0">
          <a:gsLst>
            <a:gs pos="0">
              <a:schemeClr val="accent2">
                <a:hueOff val="8431436"/>
                <a:satOff val="-28386"/>
                <a:lumOff val="-20389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8431436"/>
                <a:satOff val="-28386"/>
                <a:lumOff val="-20389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8431436"/>
                <a:satOff val="-28386"/>
                <a:lumOff val="-20389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Includes Attachment C – Services to be provided by the Engineer</a:t>
          </a:r>
        </a:p>
      </dsp:txBody>
      <dsp:txXfrm>
        <a:off x="440320" y="829280"/>
        <a:ext cx="766190" cy="76619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9F12B40-3ED1-4EA2-B596-EE226F056F7C}">
      <dsp:nvSpPr>
        <dsp:cNvPr id="0" name=""/>
        <dsp:cNvSpPr/>
      </dsp:nvSpPr>
      <dsp:spPr>
        <a:xfrm>
          <a:off x="522572" y="100345"/>
          <a:ext cx="3013988" cy="704610"/>
        </a:xfrm>
        <a:prstGeom prst="rect">
          <a:avLst/>
        </a:prstGeom>
        <a:solidFill>
          <a:srgbClr val="0F3859">
            <a:tint val="40000"/>
            <a:alpha val="9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0F3859">
              <a:tint val="40000"/>
              <a:alpha val="9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78232" rIns="78232" bIns="78232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TxDOT Introductions / TxDOT Instructions</a:t>
          </a:r>
        </a:p>
      </dsp:txBody>
      <dsp:txXfrm>
        <a:off x="1004810" y="100345"/>
        <a:ext cx="2531750" cy="704610"/>
      </dsp:txXfrm>
    </dsp:sp>
    <dsp:sp modelId="{ADD2E260-DD68-4B72-9ACC-47491F8F9225}">
      <dsp:nvSpPr>
        <dsp:cNvPr id="0" name=""/>
        <dsp:cNvSpPr/>
      </dsp:nvSpPr>
      <dsp:spPr>
        <a:xfrm>
          <a:off x="522572" y="804955"/>
          <a:ext cx="3013988" cy="704610"/>
        </a:xfrm>
        <a:prstGeom prst="rect">
          <a:avLst/>
        </a:prstGeom>
        <a:solidFill>
          <a:srgbClr val="CC7B28">
            <a:tint val="40000"/>
            <a:alpha val="9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CC7B28">
              <a:tint val="40000"/>
              <a:alpha val="9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78232" rIns="78232" bIns="78232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Consultants begin with a presentation based on the interview content paragraph and scoring criteria percentages they are provided in the ICG</a:t>
          </a:r>
        </a:p>
      </dsp:txBody>
      <dsp:txXfrm>
        <a:off x="1004810" y="804955"/>
        <a:ext cx="2531750" cy="704610"/>
      </dsp:txXfrm>
    </dsp:sp>
    <dsp:sp modelId="{31F4AD7D-A5DF-480A-8FF7-85E260F24B7B}">
      <dsp:nvSpPr>
        <dsp:cNvPr id="0" name=""/>
        <dsp:cNvSpPr/>
      </dsp:nvSpPr>
      <dsp:spPr>
        <a:xfrm>
          <a:off x="522572" y="1509566"/>
          <a:ext cx="3013988" cy="704610"/>
        </a:xfrm>
        <a:prstGeom prst="rect">
          <a:avLst/>
        </a:prstGeom>
        <a:solidFill>
          <a:srgbClr val="F4BC46">
            <a:tint val="40000"/>
            <a:alpha val="9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F4BC46">
              <a:tint val="40000"/>
              <a:alpha val="9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78232" rIns="78232" bIns="78232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CST Break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Follow-up question development</a:t>
          </a:r>
        </a:p>
      </dsp:txBody>
      <dsp:txXfrm>
        <a:off x="1004810" y="1509566"/>
        <a:ext cx="2531750" cy="704610"/>
      </dsp:txXfrm>
    </dsp:sp>
    <dsp:sp modelId="{06A63927-089C-4E22-9222-A3F8F0CAB1B6}">
      <dsp:nvSpPr>
        <dsp:cNvPr id="0" name=""/>
        <dsp:cNvSpPr/>
      </dsp:nvSpPr>
      <dsp:spPr>
        <a:xfrm>
          <a:off x="522572" y="2214176"/>
          <a:ext cx="3013988" cy="704610"/>
        </a:xfrm>
        <a:prstGeom prst="rect">
          <a:avLst/>
        </a:prstGeom>
        <a:solidFill>
          <a:srgbClr val="79A03F">
            <a:tint val="40000"/>
            <a:alpha val="9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79A03F">
              <a:tint val="40000"/>
              <a:alpha val="9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78232" rIns="78232" bIns="78232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Consultant Response in Q&amp;A Session</a:t>
          </a:r>
        </a:p>
      </dsp:txBody>
      <dsp:txXfrm>
        <a:off x="1004810" y="2214176"/>
        <a:ext cx="2531750" cy="704610"/>
      </dsp:txXfrm>
    </dsp:sp>
    <dsp:sp modelId="{DA638E59-A3AA-4E03-BE6D-F0CE2195D651}">
      <dsp:nvSpPr>
        <dsp:cNvPr id="0" name=""/>
        <dsp:cNvSpPr/>
      </dsp:nvSpPr>
      <dsp:spPr>
        <a:xfrm>
          <a:off x="522572" y="2918786"/>
          <a:ext cx="3013988" cy="704610"/>
        </a:xfrm>
        <a:prstGeom prst="rect">
          <a:avLst/>
        </a:prstGeom>
        <a:solidFill>
          <a:srgbClr val="247F74">
            <a:tint val="40000"/>
            <a:alpha val="9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247F74">
              <a:tint val="40000"/>
              <a:alpha val="9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78232" rIns="78232" bIns="78232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TxDOT Concluding Remarks</a:t>
          </a:r>
        </a:p>
      </dsp:txBody>
      <dsp:txXfrm>
        <a:off x="1004810" y="2918786"/>
        <a:ext cx="2531750" cy="704610"/>
      </dsp:txXfrm>
    </dsp:sp>
    <dsp:sp modelId="{EA1A9A80-A99D-414D-A8B6-0A350AB728AD}">
      <dsp:nvSpPr>
        <dsp:cNvPr id="0" name=""/>
        <dsp:cNvSpPr/>
      </dsp:nvSpPr>
      <dsp:spPr>
        <a:xfrm>
          <a:off x="129745" y="447"/>
          <a:ext cx="774683" cy="774683"/>
        </a:xfrm>
        <a:prstGeom prst="ellipse">
          <a:avLst/>
        </a:prstGeom>
        <a:solidFill>
          <a:srgbClr val="3869A2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rgbClr val="FFFFFF"/>
              </a:solidFill>
              <a:latin typeface="Arial"/>
              <a:ea typeface="+mn-ea"/>
              <a:cs typeface="+mn-cs"/>
            </a:rPr>
            <a:t>Typical Interview Process</a:t>
          </a:r>
        </a:p>
      </dsp:txBody>
      <dsp:txXfrm>
        <a:off x="243195" y="113897"/>
        <a:ext cx="547783" cy="547783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DA0DC65-45DA-449E-B225-873DFA46C267}">
      <dsp:nvSpPr>
        <dsp:cNvPr id="0" name=""/>
        <dsp:cNvSpPr/>
      </dsp:nvSpPr>
      <dsp:spPr>
        <a:xfrm>
          <a:off x="47068" y="29"/>
          <a:ext cx="1208517" cy="1293358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rgbClr val="042A45"/>
            </a:buClr>
            <a:buNone/>
          </a:pPr>
          <a:r>
            <a:rPr lang="en-US" sz="800" kern="1200" dirty="0">
              <a:solidFill>
                <a:srgbClr val="FFFFFF"/>
              </a:solidFill>
              <a:latin typeface="Arial"/>
              <a:ea typeface="+mn-ea"/>
              <a:cs typeface="+mn-cs"/>
            </a:rPr>
            <a:t>The CST individually scores interviews based on scoring criteria presented during the presentation developed from the content paragraph and the Q &amp; A session.</a:t>
          </a:r>
        </a:p>
      </dsp:txBody>
      <dsp:txXfrm>
        <a:off x="47068" y="29"/>
        <a:ext cx="1208517" cy="1293358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835EEF5-2A0B-4CFC-9547-2109A09BBE59}">
      <dsp:nvSpPr>
        <dsp:cNvPr id="0" name=""/>
        <dsp:cNvSpPr/>
      </dsp:nvSpPr>
      <dsp:spPr>
        <a:xfrm>
          <a:off x="916483" y="1984"/>
          <a:ext cx="2030015" cy="1218009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Use the Proposal Screening Checklist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en-US" sz="1300" b="0" i="0" u="none" strike="noStrike" kern="1200" cap="none" spc="0" normalizeH="0" baseline="0" noProof="0" dirty="0">
              <a:ln/>
              <a:solidFill>
                <a:srgbClr val="FFFF00"/>
              </a:solidFill>
              <a:effectLst/>
              <a:uLnTx/>
              <a:uFillTx/>
              <a:latin typeface="Verdana"/>
              <a:ea typeface="+mn-ea"/>
              <a:cs typeface="+mn-cs"/>
              <a:hlinkClick xmlns:r="http://schemas.openxmlformats.org/officeDocument/2006/relationships" r:id="rId1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Proposal Screening Checklist</a:t>
          </a:r>
          <a:r>
            <a:rPr kumimoji="0" lang="en-US" sz="1300" b="0" i="0" u="none" strike="noStrike" kern="1200" cap="none" spc="0" normalizeH="0" baseline="0" noProof="0" dirty="0">
              <a:ln/>
              <a:solidFill>
                <a:srgbClr val="FFFF00"/>
              </a:solidFill>
              <a:effectLst/>
              <a:uLnTx/>
              <a:uFillTx/>
              <a:latin typeface="Verdana"/>
              <a:ea typeface="+mn-ea"/>
              <a:cs typeface="+mn-cs"/>
            </a:rPr>
            <a:t> </a:t>
          </a:r>
          <a:endParaRPr lang="en-US" sz="1300" kern="1200" dirty="0">
            <a:solidFill>
              <a:srgbClr val="FFFF00"/>
            </a:solidFill>
          </a:endParaRPr>
        </a:p>
      </dsp:txBody>
      <dsp:txXfrm>
        <a:off x="916483" y="1984"/>
        <a:ext cx="2030015" cy="1218009"/>
      </dsp:txXfrm>
    </dsp:sp>
    <dsp:sp modelId="{494F53D6-7EC0-4212-AF80-4EBDCD7B1CCD}">
      <dsp:nvSpPr>
        <dsp:cNvPr id="0" name=""/>
        <dsp:cNvSpPr/>
      </dsp:nvSpPr>
      <dsp:spPr>
        <a:xfrm>
          <a:off x="3149500" y="1984"/>
          <a:ext cx="2030015" cy="1218009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Check for Addenda and questions and answers</a:t>
          </a:r>
        </a:p>
      </dsp:txBody>
      <dsp:txXfrm>
        <a:off x="3149500" y="1984"/>
        <a:ext cx="2030015" cy="1218009"/>
      </dsp:txXfrm>
    </dsp:sp>
    <dsp:sp modelId="{60A3E2E7-3C9E-4D18-9B48-2EA1E0494791}">
      <dsp:nvSpPr>
        <dsp:cNvPr id="0" name=""/>
        <dsp:cNvSpPr/>
      </dsp:nvSpPr>
      <dsp:spPr>
        <a:xfrm>
          <a:off x="916483" y="1422995"/>
          <a:ext cx="2030015" cy="1218009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/>
            <a:t>Always refer to the RFP</a:t>
          </a:r>
        </a:p>
      </dsp:txBody>
      <dsp:txXfrm>
        <a:off x="916483" y="1422995"/>
        <a:ext cx="2030015" cy="1218009"/>
      </dsp:txXfrm>
    </dsp:sp>
    <dsp:sp modelId="{A6B85706-745F-4953-AE57-A122CFCC61AB}">
      <dsp:nvSpPr>
        <dsp:cNvPr id="0" name=""/>
        <dsp:cNvSpPr/>
      </dsp:nvSpPr>
      <dsp:spPr>
        <a:xfrm>
          <a:off x="3149500" y="1422995"/>
          <a:ext cx="2030015" cy="1218009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Your submittal/proposal can be pulled back for a correction or revision before RFP closes</a:t>
          </a:r>
        </a:p>
      </dsp:txBody>
      <dsp:txXfrm>
        <a:off x="3149500" y="1422995"/>
        <a:ext cx="2030015" cy="1218009"/>
      </dsp:txXfrm>
    </dsp:sp>
    <dsp:sp modelId="{A38455F8-AF73-41D8-AA00-37471165AF6A}">
      <dsp:nvSpPr>
        <dsp:cNvPr id="0" name=""/>
        <dsp:cNvSpPr/>
      </dsp:nvSpPr>
      <dsp:spPr>
        <a:xfrm>
          <a:off x="2032992" y="2844006"/>
          <a:ext cx="2030015" cy="1218009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Familiarize yourself with the </a:t>
          </a:r>
          <a:r>
            <a:rPr lang="en-US" sz="1300" kern="1200" dirty="0" err="1"/>
            <a:t>VetHUB</a:t>
          </a:r>
          <a:r>
            <a:rPr lang="en-US" sz="1300" kern="1200" dirty="0"/>
            <a:t> Process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>
              <a:solidFill>
                <a:srgbClr val="FFFF00"/>
              </a:solidFill>
              <a:hlinkClick xmlns:r="http://schemas.openxmlformats.org/officeDocument/2006/relationships" r:id="rId2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Civil Rights events calendar</a:t>
          </a:r>
          <a:endParaRPr lang="en-US" sz="1300" kern="1200" dirty="0">
            <a:solidFill>
              <a:srgbClr val="FFFF00"/>
            </a:solidFill>
          </a:endParaRPr>
        </a:p>
      </dsp:txBody>
      <dsp:txXfrm>
        <a:off x="2032992" y="2844006"/>
        <a:ext cx="2030015" cy="1218009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5EC3054-8FF9-4D8C-82EC-6C8AB6C3884F}">
      <dsp:nvSpPr>
        <dsp:cNvPr id="0" name=""/>
        <dsp:cNvSpPr/>
      </dsp:nvSpPr>
      <dsp:spPr>
        <a:xfrm>
          <a:off x="1027393" y="488"/>
          <a:ext cx="1935000" cy="1935000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0800" dist="38100" algn="l" rotWithShape="0">
            <a:prstClr val="black">
              <a:alpha val="40000"/>
            </a:prst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Non-Listed Categories (NLC’s)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kern="1200" dirty="0"/>
            <a:t>None at this time</a:t>
          </a:r>
        </a:p>
      </dsp:txBody>
      <dsp:txXfrm>
        <a:off x="1310767" y="283862"/>
        <a:ext cx="1368252" cy="136825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3">
  <dgm:title val=""/>
  <dgm:desc val=""/>
  <dgm:catLst>
    <dgm:cat type="list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5" srcId="0" destId="1" srcOrd="0" destOrd="0"/>
        <dgm:cxn modelId="6" srcId="1" destId="2" srcOrd="0" destOrd="0"/>
        <dgm:cxn modelId="7" srcId="1" destId="3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6" srcId="0" destId="1" srcOrd="0" destOrd="0"/>
        <dgm:cxn modelId="7" srcId="1" destId="2" srcOrd="0" destOrd="0"/>
        <dgm:cxn modelId="8" srcId="1" destId="3" srcOrd="1" destOrd="0"/>
        <dgm:cxn modelId="9" srcId="1" destId="4" srcOrd="2" destOrd="0"/>
        <dgm:cxn modelId="10" srcId="1" destId="5" srcOrd="3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roof" refType="w"/>
      <dgm:constr type="h" for="ch" forName="roof" refType="h" fact="0.3"/>
      <dgm:constr type="primFontSz" for="ch" forName="roof" val="65"/>
      <dgm:constr type="w" for="ch" forName="pillars" refType="w"/>
      <dgm:constr type="h" for="ch" forName="pillars" refType="h" fact="0.63"/>
      <dgm:constr type="t" for="ch" forName="pillars" refType="h" fact="0.3"/>
      <dgm:constr type="primFontSz" for="des" forName="pillar1" val="65"/>
      <dgm:constr type="primFontSz" for="des" forName="pillarX" refType="primFontSz" refFor="des" refForName="pillar1" op="equ"/>
      <dgm:constr type="w" for="ch" forName="base" refType="w"/>
      <dgm:constr type="h" for="ch" forName="base" refType="h" fact="0.07"/>
      <dgm:constr type="t" for="ch" forName="base" refType="h" fact="0.93"/>
    </dgm:constrLst>
    <dgm:ruleLst/>
    <dgm:forEach name="Name0" axis="ch" ptType="node" cnt="1">
      <dgm:layoutNode name="roof" styleLbl="dkBgShp">
        <dgm:alg type="tx"/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illars" styleLbl="node1">
        <dgm:choose name="Name1">
          <dgm:if name="Name2" func="var" arg="dir" op="equ" val="norm">
            <dgm:alg type="lin">
              <dgm:param type="linDir" val="fromL"/>
            </dgm:alg>
          </dgm:if>
          <dgm:else name="Name3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illar1" refType="w"/>
          <dgm:constr type="h" for="ch" forName="pillar1" refType="h"/>
          <dgm:constr type="w" for="ch" forName="pillarX" refType="w"/>
          <dgm:constr type="h" for="ch" forName="pillarX" refType="h"/>
        </dgm:constrLst>
        <dgm:ruleLst/>
        <dgm:layoutNode name="pillar1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forEach name="Name4" axis="ch" ptType="node" st="2">
          <dgm:layoutNode name="pillarX" styleLbl="node1">
            <dgm:varLst>
              <dgm:bulletEnabled val="1"/>
            </dgm:varLst>
            <dgm:alg type="tx"/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forEach>
      </dgm:layoutNode>
      <dgm:layoutNode name="base" styleLbl="dkBgShp">
        <dgm:alg type="sp"/>
        <dgm:shape xmlns:r="http://schemas.openxmlformats.org/officeDocument/2006/relationships" type="rect" r:blip="">
          <dgm:adjLst/>
        </dgm:shape>
        <dgm:presOf/>
        <dgm:constrLst/>
        <dgm:ruleLst/>
      </dgm:layoutNode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11/layout/TabList">
  <dgm:title val="Tab List"/>
  <dgm:desc val="Use to show non-sequential or grouped blocks of information. Works well for lists with a small amount of Level 1 text. The first Level 2 displays next to the Level 1 text  and the remaining Level 2 text appears beneath the Level 1 text."/>
  <dgm:catLst>
    <dgm:cat type="list" pri="4500"/>
    <dgm:cat type="officeonline" pri="11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30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0" srcId="0" destId="10" srcOrd="0" destOrd="0"/>
        <dgm:cxn modelId="41" srcId="10" destId="11" srcOrd="0" destOrd="0"/>
        <dgm:cxn modelId="42" srcId="10" destId="12" srcOrd="0" destOrd="0"/>
        <dgm:cxn modelId="50" srcId="0" destId="20" srcOrd="1" destOrd="0"/>
        <dgm:cxn modelId="51" srcId="20" destId="21" srcOrd="1" destOrd="0"/>
        <dgm:cxn modelId="52" srcId="20" destId="22" srcOrd="1" destOrd="0"/>
        <dgm:cxn modelId="60" srcId="0" destId="30" srcOrd="2" destOrd="0"/>
        <dgm:cxn modelId="61" srcId="30" destId="31" srcOrd="2" destOrd="0"/>
        <dgm:cxn modelId="62" srcId="30" destId="32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/>
      <dgm:chPref val="3"/>
      <dgm:dir/>
      <dgm:animOne val="branch"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w" for="ch" forName="Child" refType="w"/>
      <dgm:constr type="h" for="ch" forName="Child" refType="h" fact="0.6667"/>
      <dgm:constr type="primFontSz" for="des" forName="Parent" op="equ" val="65"/>
      <dgm:constr type="primFontSz" for="des" forName="Child" op="equ" val="65"/>
      <dgm:constr type="primFontSz" for="des" forName="FirstChild" op="equ" val="65"/>
      <dgm:constr type="primFontSz" for="des" forName="Child" refType="primFontSz" refFor="des" refForName="Parent" op="lte"/>
      <dgm:constr type="primFontSz" for="des" forName="FirstChild" refType="primFontSz" refFor="des" refForName="Parent" op="lte"/>
      <dgm:constr type="primFontSz" for="des" forName="Child" refType="primFontSz" refFor="des" refForName="FirstChild" op="lte"/>
      <dgm:constr type="w" for="ch" forName="composite" refType="w"/>
      <dgm:constr type="h" for="ch" forName="composite" refType="h" fact="0.3333"/>
      <dgm:constr type="sp" refType="h" refFor="ch" refForName="composite" op="equ" fact="0.05"/>
      <dgm:constr type="h" for="ch" forName="sibTrans" refType="h" refFor="ch" refForName="composite" op="equ" fact="0.05"/>
      <dgm:constr type="w" for="ch" forName="sibTrans" refType="h" refFor="ch" refForName="sibTrans" op="equ"/>
    </dgm:constrLst>
    <dgm:forEach name="nodesForEach" axis="ch" ptType="node">
      <dgm:layoutNode name="composite">
        <dgm:alg type="composite"/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Accent" refType="w" fact="0"/>
              <dgm:constr type="b" for="ch" forName="Accent" refType="h"/>
              <dgm:constr type="w" for="ch" forName="Accent" refType="w"/>
              <dgm:constr type="h" for="ch" forName="Accent" refType="h" fact="0"/>
              <dgm:constr type="l" for="ch" forName="FirstChild" refType="w" fact="0.26"/>
              <dgm:constr type="t" for="ch" forName="FirstChild" refType="h" fact="0"/>
              <dgm:constr type="w" for="ch" forName="FirstChild" refType="w" fact="0.74"/>
              <dgm:constr type="h" for="ch" forName="FirstChild" refType="h"/>
              <dgm:constr type="l" for="ch" forName="Parent" refType="w" fact="0"/>
              <dgm:constr type="t" for="ch" forName="Parent" refType="h" fact="0"/>
              <dgm:constr type="w" for="ch" forName="Parent" refType="w" fact="0.26"/>
              <dgm:constr type="h" for="ch" forName="Parent" refType="h"/>
            </dgm:constrLst>
          </dgm:if>
          <dgm:else name="Name3">
            <dgm:constrLst>
              <dgm:constr type="l" for="ch" forName="Accent" refType="w" fact="0"/>
              <dgm:constr type="b" for="ch" forName="Accent" refType="h"/>
              <dgm:constr type="w" for="ch" forName="Accent" refType="w"/>
              <dgm:constr type="h" for="ch" forName="Accent" refType="h" fact="0"/>
              <dgm:constr type="r" for="ch" forName="FirstChild" refType="w" fact="0.74"/>
              <dgm:constr type="t" for="ch" forName="FirstChild" refType="h" fact="0"/>
              <dgm:constr type="w" for="ch" forName="FirstChild" refType="w" fact="0.74"/>
              <dgm:constr type="h" for="ch" forName="FirstChild" refType="h"/>
              <dgm:constr type="r" for="ch" forName="Parent" refType="w"/>
              <dgm:constr type="t" for="ch" forName="Parent" refType="h" fact="0"/>
              <dgm:constr type="w" for="ch" forName="Parent" refType="w" fact="0.26"/>
              <dgm:constr type="h" for="ch" forName="Parent" refType="h"/>
            </dgm:constrLst>
          </dgm:else>
        </dgm:choose>
        <dgm:layoutNode name="FirstChild" styleLbl="revTx">
          <dgm:varLst>
            <dgm:chMax val="0"/>
            <dgm:chPref val="0"/>
            <dgm:bulletEnabled val="1"/>
          </dgm:varLst>
          <dgm:choose name="Name4">
            <dgm:if name="Name5" func="var" arg="dir" op="equ" val="norm">
              <dgm:alg type="tx">
                <dgm:param type="parTxLTRAlign" val="l"/>
                <dgm:param type="txAnchorVert" val="b"/>
                <dgm:param type="txAnchorVertCh" val="b"/>
                <dgm:param type="parTxRTLAlign" val="l"/>
              </dgm:alg>
            </dgm:if>
            <dgm:else name="Name6">
              <dgm:alg type="tx">
                <dgm:param type="parTxLTRAlign" val="r"/>
                <dgm:param type="shpTxLTRAlignCh" val="r"/>
                <dgm:param type="txAnchorVert" val="b"/>
                <dgm:param type="txAnchorVertCh" val="b"/>
                <dgm:param type="parTxRTLAlign" val="r"/>
              </dgm:alg>
            </dgm:else>
          </dgm:choose>
          <dgm:shape xmlns:r="http://schemas.openxmlformats.org/officeDocument/2006/relationships" type="rect" r:blip="">
            <dgm:adjLst/>
          </dgm:shape>
          <dgm:choose name="Name7">
            <dgm:if name="Name8" axis="ch" ptType="node" func="cnt" op="gte" val="1">
              <dgm:presOf axis="ch desOrSelf" ptType="node node" st="1 1" cnt="1 0"/>
            </dgm:if>
            <dgm:else name="Name9">
              <dgm:presOf/>
            </dgm:else>
          </dgm:choose>
          <dgm:constrLst>
            <dgm:constr type="lMarg" refType="primFontSz" fact="0.15"/>
            <dgm:constr type="rMarg" refType="primFontSz" fact="0.15"/>
            <dgm:constr type="tMarg" refType="primFontSz" fact="0.15"/>
            <dgm:constr type="bMarg" refType="primFontSz" fact="0.15"/>
          </dgm:constrLst>
          <dgm:ruleLst>
            <dgm:rule type="primFontSz" val="5" fact="NaN" max="NaN"/>
          </dgm:ruleLst>
        </dgm:layoutNode>
        <dgm:layoutNode name="Parent" styleLbl="alignNode1">
          <dgm:varLst>
            <dgm:chMax val="3"/>
            <dgm:chPref val="3"/>
            <dgm:bulletEnabled val="1"/>
          </dgm:varLst>
          <dgm:alg type="tx">
            <dgm:param type="shpTxLTRAlignCh" val="ctr"/>
            <dgm:param type="txAnchorVertCh" val="mid"/>
          </dgm:alg>
          <dgm:shape xmlns:r="http://schemas.openxmlformats.org/officeDocument/2006/relationships" type="round2SameRect" r:blip="">
            <dgm:adjLst>
              <dgm:adj idx="1" val="0.1667"/>
              <dgm:adj idx="2" val="0"/>
            </dgm:adjLst>
          </dgm:shape>
          <dgm:presOf axis="self" ptType="node"/>
          <dgm:constrLst>
            <dgm:constr type="lMarg" refType="primFontSz" fact="0.15"/>
            <dgm:constr type="rMarg" refType="primFontSz" fact="0.15"/>
            <dgm:constr type="tMarg" refType="primFontSz" fact="0.15"/>
            <dgm:constr type="bMarg" refType="primFontSz" fact="0.15"/>
          </dgm:constrLst>
          <dgm:ruleLst>
            <dgm:rule type="primFontSz" val="5" fact="NaN" max="NaN"/>
          </dgm:ruleLst>
        </dgm:layoutNode>
        <dgm:layoutNode name="Accent" styleLbl="parChTrans1D1">
          <dgm:alg type="sp"/>
          <dgm:shape xmlns:r="http://schemas.openxmlformats.org/officeDocument/2006/relationships" type="line" r:blip="" zOrderOff="-99999">
            <dgm:adjLst/>
          </dgm:shape>
          <dgm:presOf/>
        </dgm:layoutNode>
      </dgm:layoutNode>
      <dgm:choose name="Name10">
        <dgm:if name="Name11" axis="ch" ptType="node" st="2" cnt="1" func="cnt" op="gte" val="1">
          <dgm:layoutNode name="Child" styleLbl="revTx">
            <dgm:varLst>
              <dgm:chMax val="0"/>
              <dgm:chPref val="0"/>
              <dgm:bulletEnabled val="1"/>
            </dgm:varLst>
            <dgm:choose name="Name12">
              <dgm:if name="Name13" func="var" arg="dir" op="equ" val="norm">
                <dgm:alg type="tx">
                  <dgm:param type="stBulletLvl" val="1"/>
                  <dgm:param type="parTxLTRAlign" val="l"/>
                  <dgm:param type="parTxRTLAlign" val="l"/>
                  <dgm:param type="txAnchorVert" val="t"/>
                </dgm:alg>
              </dgm:if>
              <dgm:else name="Name14">
                <dgm:alg type="tx">
                  <dgm:param type="stBulletLvl" val="1"/>
                  <dgm:param type="parTxLTRAlign" val="r"/>
                  <dgm:param type="shpTxLTRAlignCh" val="r"/>
                  <dgm:param type="txAnchorVert" val="t"/>
                  <dgm:param type="parTxRTLAlign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ch desOrSelf" ptType="node node" st="2 1" cnt="0 0"/>
            <dgm:constrLst>
              <dgm:constr type="lMarg" refType="primFontSz" fact="0.15"/>
              <dgm:constr type="rMarg" refType="primFontSz" fact="0.15"/>
              <dgm:constr type="tMarg" refType="primFontSz" fact="0.15"/>
              <dgm:constr type="bMarg" refType="primFontSz" fact="0.15"/>
            </dgm:constrLst>
            <dgm:ruleLst>
              <dgm:rule type="primFontSz" val="5" fact="NaN" max="NaN"/>
            </dgm:ruleLst>
          </dgm:layoutNode>
        </dgm:if>
        <dgm:else name="Name15"/>
      </dgm:choos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List9">
  <dgm:title val=""/>
  <dgm:desc val=""/>
  <dgm:catLst>
    <dgm:cat type="list" pri="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3" srcId="0" destId="1" srcOrd="0" destOrd="0"/>
        <dgm:cxn modelId="4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2"/>
        <dgm:pt modelId="21"/>
        <dgm:pt modelId="22"/>
        <dgm:pt modelId="23"/>
        <dgm:pt modelId="24"/>
        <dgm:pt modelId="3"/>
        <dgm:pt modelId="31"/>
        <dgm:pt modelId="32"/>
        <dgm:pt modelId="33"/>
        <dgm:pt modelId="34"/>
      </dgm:ptLst>
      <dgm:cxnLst>
        <dgm:cxn modelId="4" srcId="0" destId="1" srcOrd="0" destOrd="0"/>
        <dgm:cxn modelId="5" srcId="0" destId="2" srcOrd="1" destOrd="0"/>
        <dgm:cxn modelId="6" srcId="0" destId="3" srcOrd="1" destOrd="0"/>
        <dgm:cxn modelId="15" srcId="1" destId="11" srcOrd="0" destOrd="0"/>
        <dgm:cxn modelId="16" srcId="1" destId="12" srcOrd="0" destOrd="0"/>
        <dgm:cxn modelId="17" srcId="1" destId="13" srcOrd="0" destOrd="0"/>
        <dgm:cxn modelId="18" srcId="1" destId="14" srcOrd="0" destOrd="0"/>
        <dgm:cxn modelId="25" srcId="2" destId="21" srcOrd="0" destOrd="0"/>
        <dgm:cxn modelId="26" srcId="2" destId="22" srcOrd="0" destOrd="0"/>
        <dgm:cxn modelId="27" srcId="2" destId="23" srcOrd="0" destOrd="0"/>
        <dgm:cxn modelId="28" srcId="2" destId="24" srcOrd="0" destOrd="0"/>
        <dgm:cxn modelId="35" srcId="3" destId="31" srcOrd="0" destOrd="0"/>
        <dgm:cxn modelId="36" srcId="3" destId="32" srcOrd="0" destOrd="0"/>
        <dgm:cxn modelId="37" srcId="3" destId="33" srcOrd="0" destOrd="0"/>
        <dgm:cxn modelId="38" srcId="3" destId="34" srcOrd="0" destOrd="0"/>
      </dgm:cxnLst>
      <dgm:bg/>
      <dgm:whole/>
    </dgm:dataModel>
  </dgm:clrData>
  <dgm:layoutNode name="list">
    <dgm:varLst>
      <dgm:dir/>
      <dgm:animLvl val="lvl"/>
    </dgm:varLst>
    <dgm:choose name="Name0">
      <dgm:if name="Name1" func="var" arg="dir" op="equ" val="norm">
        <dgm:alg type="lin">
          <dgm:param type="linDir" val="fromL"/>
          <dgm:param type="fallback" val="2D"/>
          <dgm:param type="nodeVertAlign" val="t"/>
        </dgm:alg>
      </dgm:if>
      <dgm:else name="Name2">
        <dgm:alg type="lin">
          <dgm:param type="linDir" val="fromR"/>
          <dgm:param type="fallback" val="2D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ircle" refType="w" fact="0.5"/>
      <dgm:constr type="w" for="ch" forName="vertFlow" refType="w" fact="0.75"/>
      <dgm:constr type="h" for="des" forName="firstComp" refType="w" refFor="ch" refForName="vertFlow" fact="0.667"/>
      <dgm:constr type="h" for="des" forName="comp" refType="h" refFor="des" refForName="firstComp" op="equ"/>
      <dgm:constr type="h" for="des" forName="topSpace" refType="w" refFor="ch" refForName="circle" op="equ" fact="0.4"/>
      <dgm:constr type="w" for="ch" forName="posSpace" refType="w" fact="0.4"/>
      <dgm:constr type="w" for="ch" forName="negSpace" refType="w" fact="-1.15"/>
      <dgm:constr type="w" for="ch" forName="transSpace" refType="w" fact="0.75"/>
      <dgm:constr type="primFontSz" for="ch" forName="circle" op="equ" val="65"/>
      <dgm:constr type="primFontSz" for="des" forName="firstChildTx" val="65"/>
      <dgm:constr type="primFontSz" for="des" forName="childTx" refType="primFontSz" refFor="des" refForName="firstChildTx" op="equ"/>
    </dgm:constrLst>
    <dgm:ruleLst/>
    <dgm:forEach name="Name3" axis="ch" ptType="node">
      <dgm:layoutNode name="pos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vertFlow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firstComp" refType="w"/>
          <dgm:constr type="w" for="ch" forName="comp" refType="w"/>
        </dgm:constrLst>
        <dgm:ruleLst/>
        <dgm:layoutNode name="top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firstComp">
          <dgm:alg type="composite"/>
          <dgm:shape xmlns:r="http://schemas.openxmlformats.org/officeDocument/2006/relationships" r:blip="">
            <dgm:adjLst/>
          </dgm:shape>
          <dgm:presOf/>
          <dgm:choose name="Name4">
            <dgm:if name="Name5" func="var" arg="dir" op="equ" val="norm">
              <dgm:constrLst>
                <dgm:constr type="l" for="ch" forName="firstChild"/>
                <dgm:constr type="t" for="ch" forName="firstChild"/>
                <dgm:constr type="w" for="ch" forName="firstChild" refType="w"/>
                <dgm:constr type="h" for="ch" forName="firstChild" refType="h"/>
                <dgm:constr type="l" for="ch" forName="firstChildTx" refType="w" fact="0.16"/>
                <dgm:constr type="r" for="ch" forName="firstChildTx" refType="w"/>
                <dgm:constr type="h" for="ch" forName="firstChildTx" refFor="ch" refForName="firstChild" op="equ"/>
              </dgm:constrLst>
            </dgm:if>
            <dgm:else name="Name6">
              <dgm:constrLst>
                <dgm:constr type="l" for="ch" forName="firstChild"/>
                <dgm:constr type="t" for="ch" forName="firstChild"/>
                <dgm:constr type="w" for="ch" forName="firstChild" refType="w"/>
                <dgm:constr type="h" for="ch" forName="firstChild" refType="h"/>
                <dgm:constr type="l" for="ch" forName="firstChildTx"/>
                <dgm:constr type="r" for="ch" forName="firstChildTx" refType="w" fact="0.825"/>
                <dgm:constr type="h" for="ch" forName="firstChildTx" refFor="ch" refForName="firstChild" op="equ"/>
              </dgm:constrLst>
            </dgm:else>
          </dgm:choose>
          <dgm:ruleLst/>
          <dgm:layoutNode name="firstChild" styleLbl="bgAccFollowNode1">
            <dgm:alg type="sp"/>
            <dgm:shape xmlns:r="http://schemas.openxmlformats.org/officeDocument/2006/relationships" type="rect" r:blip="">
              <dgm:adjLst/>
            </dgm:shape>
            <dgm:presOf axis="ch desOrSelf" ptType="node node" cnt="1 0"/>
            <dgm:constrLst/>
            <dgm:ruleLst/>
          </dgm:layoutNode>
          <dgm:layoutNode name="firstChildTx" styleLbl="bgAccFollowNode1">
            <dgm:varLst>
              <dgm:bulletEnabled val="1"/>
            </dgm:varLst>
            <dgm:alg type="tx">
              <dgm:param type="parTxLTRAlign" val="l"/>
            </dgm:alg>
            <dgm:shape xmlns:r="http://schemas.openxmlformats.org/officeDocument/2006/relationships" type="rect" r:blip="" hideGeom="1">
              <dgm:adjLst/>
            </dgm:shape>
            <dgm:presOf axis="ch desOrSelf" ptType="node node" cnt="1 0"/>
            <dgm:choose name="Name7">
              <dgm:if name="Name8" func="var" arg="dir" op="equ" val="norm">
                <dgm:constrLst>
                  <dgm:constr type="primFontSz" val="65"/>
                  <dgm:constr type="lMarg"/>
                </dgm:constrLst>
              </dgm:if>
              <dgm:else name="Name9">
                <dgm:constrLst>
                  <dgm:constr type="primFontSz" val="65"/>
                  <dgm:constr type="rMarg"/>
                </dgm:constrLst>
              </dgm:else>
            </dgm:choose>
            <dgm:ruleLst>
              <dgm:rule type="primFontSz" val="5" fact="NaN" max="NaN"/>
            </dgm:ruleLst>
          </dgm:layoutNode>
        </dgm:layoutNode>
        <dgm:forEach name="Name10" axis="ch" ptType="node" st="2">
          <dgm:layoutNode name="comp">
            <dgm:alg type="composite"/>
            <dgm:shape xmlns:r="http://schemas.openxmlformats.org/officeDocument/2006/relationships" r:blip="">
              <dgm:adjLst/>
            </dgm:shape>
            <dgm:presOf/>
            <dgm:choose name="Name11">
              <dgm:if name="Name12" func="var" arg="dir" op="equ" val="norm">
                <dgm:constrLst>
                  <dgm:constr type="l" for="ch" forName="child"/>
                  <dgm:constr type="t" for="ch" forName="child"/>
                  <dgm:constr type="w" for="ch" forName="child" refType="w"/>
                  <dgm:constr type="h" for="ch" forName="child" refType="h"/>
                  <dgm:constr type="l" for="ch" forName="childTx" refType="w" fact="0.16"/>
                  <dgm:constr type="r" for="ch" forName="childTx" refType="w"/>
                  <dgm:constr type="h" for="ch" forName="childTx" refFor="ch" refForName="child" op="equ"/>
                </dgm:constrLst>
              </dgm:if>
              <dgm:else name="Name13">
                <dgm:constrLst>
                  <dgm:constr type="l" for="ch" forName="child"/>
                  <dgm:constr type="t" for="ch" forName="child"/>
                  <dgm:constr type="w" for="ch" forName="child" refType="w"/>
                  <dgm:constr type="h" for="ch" forName="child" refType="h"/>
                  <dgm:constr type="l" for="ch" forName="childTx"/>
                  <dgm:constr type="r" for="ch" forName="childTx" refType="w" fact="0.825"/>
                  <dgm:constr type="h" for="ch" forName="childTx" refFor="ch" refForName="child" op="equ"/>
                </dgm:constrLst>
              </dgm:else>
            </dgm:choose>
            <dgm:ruleLst/>
            <dgm:layoutNode name="child" styleLbl="bgAccFollowNode1">
              <dgm:alg type="sp"/>
              <dgm:shape xmlns:r="http://schemas.openxmlformats.org/officeDocument/2006/relationships" type="rect" r:blip="">
                <dgm:adjLst/>
              </dgm:shape>
              <dgm:presOf axis="desOrSelf" ptType="node"/>
              <dgm:constrLst/>
              <dgm:ruleLst/>
            </dgm:layoutNode>
            <dgm:layoutNode name="childTx" styleLbl="bgAccFollowNode1">
              <dgm:varLst>
                <dgm:bulletEnabled val="1"/>
              </dgm:varLst>
              <dgm:alg type="tx">
                <dgm:param type="parTxLTRAlign" val="l"/>
              </dgm:alg>
              <dgm:shape xmlns:r="http://schemas.openxmlformats.org/officeDocument/2006/relationships" type="rect" r:blip="" hideGeom="1">
                <dgm:adjLst/>
              </dgm:shape>
              <dgm:presOf axis="desOrSelf" ptType="node"/>
              <dgm:choose name="Name14">
                <dgm:if name="Name15" func="var" arg="dir" op="equ" val="norm">
                  <dgm:constrLst>
                    <dgm:constr type="primFontSz" val="65"/>
                    <dgm:constr type="lMarg"/>
                  </dgm:constrLst>
                </dgm:if>
                <dgm:else name="Name16">
                  <dgm:constrLst>
                    <dgm:constr type="primFontSz" val="65"/>
                    <dgm:constr type="rMarg"/>
                  </dgm:constrLst>
                </dgm:else>
              </dgm:choose>
              <dgm:ruleLst>
                <dgm:rule type="primFontSz" val="5" fact="NaN" max="NaN"/>
              </dgm:ruleLst>
            </dgm:layoutNode>
          </dgm:layoutNode>
        </dgm:forEach>
      </dgm:layoutNode>
      <dgm:layoutNode name="neg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ircle" styleLbl="node1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lMarg"/>
          <dgm:constr type="rMarg"/>
          <dgm:constr type="tMarg"/>
          <dgm:constr type="bMarg"/>
          <dgm:constr type="h" refType="w"/>
        </dgm:constrLst>
        <dgm:ruleLst>
          <dgm:rule type="primFontSz" val="5" fact="NaN" max="NaN"/>
        </dgm:ruleLst>
      </dgm:layoutNode>
      <dgm:forEach name="Name17" axis="followSib" ptType="sibTrans" cnt="1">
        <dgm:layoutNode name="trans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equation1">
  <dgm:title val=""/>
  <dgm:desc val=""/>
  <dgm:catLst>
    <dgm:cat type="relationship" pri="17000"/>
    <dgm:cat type="process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choose name="Name0">
      <dgm:if name="Name1" func="var" arg="dir" op="equ" val="norm">
        <dgm:alg type="lin">
          <dgm:param type="fallback" val="2D"/>
        </dgm:alg>
      </dgm:if>
      <dgm:else name="Name2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fact="0.58"/>
      <dgm:constr type="primFontSz" for="ch" ptType="node" op="equ" val="65"/>
      <dgm:constr type="primFontSz" for="ch" ptType="sibTrans" op="equ" val="55"/>
      <dgm:constr type="primFontSz" for="ch" ptType="sibTrans" refType="primFontSz" refFor="ch" refPtType="node" op="lte" fact="0.8"/>
      <dgm:constr type="w" for="ch" forName="spacerL" refType="w" refFor="ch" refPtType="sibTrans" fact="0.14"/>
      <dgm:constr type="w" for="ch" forName="spacerR" refType="w" refFor="ch" refPtType="sibTrans" fact="0.14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pacerL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ibTrans">
          <dgm:alg type="tx"/>
          <dgm:choose name="Name3">
            <dgm:if name="Name4" axis="followSib" ptType="sibTrans" func="cnt" op="equ" val="0">
              <dgm:shape xmlns:r="http://schemas.openxmlformats.org/officeDocument/2006/relationships" type="mathEqual" r:blip="">
                <dgm:adjLst/>
              </dgm:shape>
            </dgm:if>
            <dgm:else name="Name5">
              <dgm:shape xmlns:r="http://schemas.openxmlformats.org/officeDocument/2006/relationships" type="mathPlus" r:blip="">
                <dgm:adjLst/>
              </dgm:shape>
            </dgm:else>
          </dgm:choose>
          <dgm:presOf axis="self"/>
          <dgm:constrLst>
            <dgm:constr type="h" refType="w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  <dgm:layoutNode name="spacerR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4034787" cy="351276"/>
          </a:xfrm>
          <a:prstGeom prst="rect">
            <a:avLst/>
          </a:prstGeom>
        </p:spPr>
        <p:txBody>
          <a:bodyPr vert="horz" lIns="91915" tIns="45958" rIns="91915" bIns="4595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272207" y="1"/>
            <a:ext cx="4034787" cy="351276"/>
          </a:xfrm>
          <a:prstGeom prst="rect">
            <a:avLst/>
          </a:prstGeom>
        </p:spPr>
        <p:txBody>
          <a:bodyPr vert="horz" lIns="91915" tIns="45958" rIns="91915" bIns="45958" rtlCol="0"/>
          <a:lstStyle>
            <a:lvl1pPr algn="r">
              <a:defRPr sz="1200"/>
            </a:lvl1pPr>
          </a:lstStyle>
          <a:p>
            <a:fld id="{FF8E6447-1AF7-45FC-B6F3-B45DEEC38ECA}" type="datetimeFigureOut">
              <a:rPr lang="en-US" smtClean="0"/>
              <a:t>7/10/20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6670618"/>
            <a:ext cx="4034787" cy="351276"/>
          </a:xfrm>
          <a:prstGeom prst="rect">
            <a:avLst/>
          </a:prstGeom>
        </p:spPr>
        <p:txBody>
          <a:bodyPr vert="horz" lIns="91915" tIns="45958" rIns="91915" bIns="45958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72207" y="6670618"/>
            <a:ext cx="4034787" cy="351276"/>
          </a:xfrm>
          <a:prstGeom prst="rect">
            <a:avLst/>
          </a:prstGeom>
        </p:spPr>
        <p:txBody>
          <a:bodyPr vert="horz" lIns="91915" tIns="45958" rIns="91915" bIns="45958" rtlCol="0" anchor="b"/>
          <a:lstStyle>
            <a:lvl1pPr algn="r">
              <a:defRPr sz="1200"/>
            </a:lvl1pPr>
          </a:lstStyle>
          <a:p>
            <a:fld id="{B9B2EB33-711F-41CA-8F73-C56B715F8B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055667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033943" cy="351155"/>
          </a:xfrm>
          <a:prstGeom prst="rect">
            <a:avLst/>
          </a:prstGeom>
        </p:spPr>
        <p:txBody>
          <a:bodyPr vert="horz" lIns="93662" tIns="46831" rIns="93662" bIns="4683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73004" y="0"/>
            <a:ext cx="4033943" cy="351155"/>
          </a:xfrm>
          <a:prstGeom prst="rect">
            <a:avLst/>
          </a:prstGeom>
        </p:spPr>
        <p:txBody>
          <a:bodyPr vert="horz" lIns="93662" tIns="46831" rIns="93662" bIns="46831" rtlCol="0"/>
          <a:lstStyle>
            <a:lvl1pPr algn="r">
              <a:defRPr sz="1200"/>
            </a:lvl1pPr>
          </a:lstStyle>
          <a:p>
            <a:fld id="{7A790463-911A-4750-AD2E-671879DD54F4}" type="datetimeFigureOut">
              <a:rPr lang="en-US" smtClean="0"/>
              <a:pPr/>
              <a:t>7/10/202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312988" y="527050"/>
            <a:ext cx="4683125" cy="26336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662" tIns="46831" rIns="93662" bIns="46831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30911" y="3335973"/>
            <a:ext cx="7447280" cy="3160395"/>
          </a:xfrm>
          <a:prstGeom prst="rect">
            <a:avLst/>
          </a:prstGeom>
        </p:spPr>
        <p:txBody>
          <a:bodyPr vert="horz" lIns="93662" tIns="46831" rIns="93662" bIns="46831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6670727"/>
            <a:ext cx="4033943" cy="351155"/>
          </a:xfrm>
          <a:prstGeom prst="rect">
            <a:avLst/>
          </a:prstGeom>
        </p:spPr>
        <p:txBody>
          <a:bodyPr vert="horz" lIns="93662" tIns="46831" rIns="93662" bIns="4683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73004" y="6670727"/>
            <a:ext cx="4033943" cy="351155"/>
          </a:xfrm>
          <a:prstGeom prst="rect">
            <a:avLst/>
          </a:prstGeom>
        </p:spPr>
        <p:txBody>
          <a:bodyPr vert="horz" lIns="93662" tIns="46831" rIns="93662" bIns="46831" rtlCol="0" anchor="b"/>
          <a:lstStyle>
            <a:lvl1pPr algn="r">
              <a:defRPr sz="1200"/>
            </a:lvl1pPr>
          </a:lstStyle>
          <a:p>
            <a:fld id="{09541898-D043-4569-A9A6-59B778BECE0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8243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5325"/>
            <a:ext cx="6210300" cy="34940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70709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2.jpg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2.jpg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oleObject" Target="../embeddings/oleObject3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512064" y="2782641"/>
            <a:ext cx="4114800" cy="1057275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05588"/>
                </a:solidFill>
                <a:effectLst/>
                <a:uLnTx/>
                <a:uFill>
                  <a:solidFill>
                    <a:schemeClr val="accent2"/>
                  </a:solidFill>
                </a:uFill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512064" y="3955235"/>
            <a:ext cx="4114800" cy="433125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Sub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2B1937B-3095-314F-B2F3-A1A62EC6D9F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4715184"/>
            <a:ext cx="9144000" cy="43872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Imag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AF14AA4-436D-6C64-B544-ADC317BC64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-9145" y="3716497"/>
            <a:ext cx="9162288" cy="1434720"/>
          </a:xfrm>
          <a:prstGeom prst="rect">
            <a:avLst/>
          </a:prstGeom>
          <a:gradFill flip="none" rotWithShape="1">
            <a:gsLst>
              <a:gs pos="0">
                <a:srgbClr val="0057A8">
                  <a:lumMod val="61100"/>
                </a:srgbClr>
              </a:gs>
              <a:gs pos="100000">
                <a:srgbClr val="0057A8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99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036000"/>
            <a:ext cx="6665976" cy="475261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lnSpc>
                <a:spcPct val="100000"/>
              </a:lnSpc>
              <a:defRPr sz="2398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4532924"/>
            <a:ext cx="6665976" cy="22838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lnSpc>
                <a:spcPct val="100000"/>
              </a:lnSpc>
              <a:buNone/>
              <a:defRPr sz="1599">
                <a:solidFill>
                  <a:schemeClr val="bg1"/>
                </a:solidFill>
              </a:defRPr>
            </a:lvl1pPr>
            <a:lvl2pPr marL="342591" indent="0" algn="ctr">
              <a:buNone/>
              <a:defRPr sz="1499"/>
            </a:lvl2pPr>
            <a:lvl3pPr marL="685183" indent="0" algn="ctr">
              <a:buNone/>
              <a:defRPr sz="1349"/>
            </a:lvl3pPr>
            <a:lvl4pPr marL="1027774" indent="0" algn="ctr">
              <a:buNone/>
              <a:defRPr sz="1199"/>
            </a:lvl4pPr>
            <a:lvl5pPr marL="1370366" indent="0" algn="ctr">
              <a:buNone/>
              <a:defRPr sz="1199"/>
            </a:lvl5pPr>
            <a:lvl6pPr marL="1712957" indent="0" algn="ctr">
              <a:buNone/>
              <a:defRPr sz="1199"/>
            </a:lvl6pPr>
            <a:lvl7pPr marL="2055548" indent="0" algn="ctr">
              <a:buNone/>
              <a:defRPr sz="1199"/>
            </a:lvl7pPr>
            <a:lvl8pPr marL="2398140" indent="0" algn="ctr">
              <a:buNone/>
              <a:defRPr sz="1199"/>
            </a:lvl8pPr>
            <a:lvl9pPr marL="2740731" indent="0" algn="ctr">
              <a:buNone/>
              <a:defRPr sz="1199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8" name="Picture 7" descr="Texas Department of Transportation logo">
            <a:extLst>
              <a:ext uri="{FF2B5EF4-FFF2-40B4-BE49-F238E27FC236}">
                <a16:creationId xmlns:a16="http://schemas.microsoft.com/office/drawing/2014/main" id="{4BA7821B-A887-DC06-2115-588BAB4C78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81394" y="3974167"/>
            <a:ext cx="805407" cy="598925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0ADA73D4-6F66-7F18-E5F2-004660395239}"/>
              </a:ext>
            </a:extLst>
          </p:cNvPr>
          <p:cNvSpPr txBox="1">
            <a:spLocks/>
          </p:cNvSpPr>
          <p:nvPr userDrawn="1"/>
        </p:nvSpPr>
        <p:spPr>
          <a:xfrm>
            <a:off x="6648628" y="4665765"/>
            <a:ext cx="2038172" cy="228389"/>
          </a:xfrm>
          <a:prstGeom prst="rect">
            <a:avLst/>
          </a:prstGeom>
          <a:noFill/>
        </p:spPr>
        <p:txBody>
          <a:bodyPr vert="horz" wrap="none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205588"/>
              </a:buClr>
              <a:buFont typeface="Wingdings" pitchFamily="2" charset="2"/>
              <a:buNone/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  <a:lvl2pPr marL="457200" indent="0" algn="ctr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205588"/>
              </a:buClr>
              <a:buFont typeface="Franklin Gothic Book" panose="020B05030201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Franklin Gothic Book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205588"/>
              </a:buClr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Franklin Gothic Book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205588"/>
              </a:buClr>
              <a:buFont typeface="Franklin Gothic Book" panose="020B05030201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Franklin Gothic Book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205588"/>
              </a:buClr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Franklin Gothic Book" pitchFamily="34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3753AA7-ABEA-4893-80DA-F7DBAF2E4759}" type="datetime1">
              <a:rPr lang="en-US" sz="1599" smtClean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7/10/2026</a:t>
            </a:fld>
            <a:endParaRPr lang="en-US" sz="1599" dirty="0">
              <a:solidFill>
                <a:srgbClr val="BCE7FD"/>
              </a:solidFill>
              <a:latin typeface="+mn-lt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ECAF199-AE96-F9A3-21D5-1A4B51244B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-9144" y="3716496"/>
            <a:ext cx="9162288" cy="0"/>
          </a:xfrm>
          <a:prstGeom prst="line">
            <a:avLst/>
          </a:prstGeom>
          <a:ln w="38100">
            <a:solidFill>
              <a:srgbClr val="D90D0D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297D681-6979-610D-1988-DD743790542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9525" y="-9135"/>
            <a:ext cx="9163050" cy="3709029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7762268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Image and Long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AF14AA4-436D-6C64-B544-ADC317BC64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-9145" y="3716497"/>
            <a:ext cx="9162288" cy="1434720"/>
          </a:xfrm>
          <a:prstGeom prst="rect">
            <a:avLst/>
          </a:prstGeom>
          <a:gradFill flip="none" rotWithShape="1">
            <a:gsLst>
              <a:gs pos="0">
                <a:srgbClr val="0057A8">
                  <a:lumMod val="61100"/>
                </a:srgbClr>
              </a:gs>
              <a:gs pos="100000">
                <a:srgbClr val="0057A8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/>
            <a:endParaRPr lang="en-US" sz="1199" dirty="0" err="1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ECAF199-AE96-F9A3-21D5-1A4B51244B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-9144" y="3716496"/>
            <a:ext cx="9162288" cy="0"/>
          </a:xfrm>
          <a:prstGeom prst="line">
            <a:avLst/>
          </a:prstGeom>
          <a:ln w="38100">
            <a:solidFill>
              <a:srgbClr val="D90D0D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010502"/>
            <a:ext cx="6665976" cy="840470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>
            <a:lvl1pPr algn="l">
              <a:defRPr sz="2398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7593ED4F-ECDC-36E8-7E33-54BD57010E2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9525" y="-9135"/>
            <a:ext cx="9163050" cy="3709029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BD9E2FB0-E279-9C0A-D398-311B32EC824A}"/>
              </a:ext>
            </a:extLst>
          </p:cNvPr>
          <p:cNvSpPr txBox="1">
            <a:spLocks/>
          </p:cNvSpPr>
          <p:nvPr userDrawn="1"/>
        </p:nvSpPr>
        <p:spPr>
          <a:xfrm>
            <a:off x="6648628" y="4665765"/>
            <a:ext cx="2038172" cy="228389"/>
          </a:xfrm>
          <a:prstGeom prst="rect">
            <a:avLst/>
          </a:prstGeom>
          <a:noFill/>
        </p:spPr>
        <p:txBody>
          <a:bodyPr vert="horz" wrap="none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205588"/>
              </a:buClr>
              <a:buFont typeface="Wingdings" pitchFamily="2" charset="2"/>
              <a:buNone/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  <a:lvl2pPr marL="457200" indent="0" algn="ctr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205588"/>
              </a:buClr>
              <a:buFont typeface="Franklin Gothic Book" panose="020B05030201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Franklin Gothic Book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205588"/>
              </a:buClr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Franklin Gothic Book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205588"/>
              </a:buClr>
              <a:buFont typeface="Franklin Gothic Book" panose="020B05030201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Franklin Gothic Book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205588"/>
              </a:buClr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Franklin Gothic Book" pitchFamily="34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E2B5DAD-BFF8-44B3-A078-08B862131A9F}" type="datetime1">
              <a:rPr lang="en-US" sz="1599" smtClean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7/10/2026</a:t>
            </a:fld>
            <a:endParaRPr lang="en-US" sz="1599" dirty="0">
              <a:solidFill>
                <a:srgbClr val="BCE7FD"/>
              </a:solidFill>
              <a:latin typeface="+mn-lt"/>
            </a:endParaRPr>
          </a:p>
        </p:txBody>
      </p:sp>
      <p:pic>
        <p:nvPicPr>
          <p:cNvPr id="5" name="Picture 7" descr="Texas Department of Transportation logo">
            <a:extLst>
              <a:ext uri="{FF2B5EF4-FFF2-40B4-BE49-F238E27FC236}">
                <a16:creationId xmlns:a16="http://schemas.microsoft.com/office/drawing/2014/main" id="{14A2CB23-F1E1-7A15-232A-FDE90FB869D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81394" y="3974665"/>
            <a:ext cx="805407" cy="59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04261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OU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4B9F2E4-EBAA-496A-3A84-89E9137EF31E}"/>
              </a:ext>
            </a:extLst>
          </p:cNvPr>
          <p:cNvSpPr>
            <a:spLocks/>
          </p:cNvSpPr>
          <p:nvPr userDrawn="1"/>
        </p:nvSpPr>
        <p:spPr>
          <a:xfrm>
            <a:off x="-9145" y="-9135"/>
            <a:ext cx="9162288" cy="5161580"/>
          </a:xfrm>
          <a:prstGeom prst="rect">
            <a:avLst/>
          </a:prstGeom>
          <a:gradFill flip="none" rotWithShape="1">
            <a:gsLst>
              <a:gs pos="0">
                <a:srgbClr val="0057A8">
                  <a:lumMod val="61100"/>
                </a:srgbClr>
              </a:gs>
              <a:gs pos="100000">
                <a:srgbClr val="0057A8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99" dirty="0" err="1"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D8C8299-F83F-D714-FFDE-A89D5626D3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-9144" y="0"/>
            <a:ext cx="9162288" cy="5154574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2C91761-A700-7455-06A4-7D583C75D31C}"/>
              </a:ext>
            </a:extLst>
          </p:cNvPr>
          <p:cNvCxnSpPr>
            <a:cxnSpLocks/>
          </p:cNvCxnSpPr>
          <p:nvPr userDrawn="1"/>
        </p:nvCxnSpPr>
        <p:spPr>
          <a:xfrm>
            <a:off x="-9145" y="14974"/>
            <a:ext cx="9162288" cy="0"/>
          </a:xfrm>
          <a:prstGeom prst="line">
            <a:avLst/>
          </a:prstGeom>
          <a:ln w="38100">
            <a:solidFill>
              <a:srgbClr val="D90D0D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Subtitle 2">
            <a:extLst>
              <a:ext uri="{FF2B5EF4-FFF2-40B4-BE49-F238E27FC236}">
                <a16:creationId xmlns:a16="http://schemas.microsoft.com/office/drawing/2014/main" id="{DD5C73F3-3B2E-2FDA-8150-8AE80181A778}"/>
              </a:ext>
            </a:extLst>
          </p:cNvPr>
          <p:cNvSpPr txBox="1">
            <a:spLocks/>
          </p:cNvSpPr>
          <p:nvPr userDrawn="1"/>
        </p:nvSpPr>
        <p:spPr>
          <a:xfrm>
            <a:off x="6413620" y="720485"/>
            <a:ext cx="2093837" cy="269909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205588"/>
              </a:buClr>
              <a:buFont typeface="Wingdings" pitchFamily="2" charset="2"/>
              <a:buNone/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  <a:lvl2pPr marL="457200" indent="0" algn="ctr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205588"/>
              </a:buClr>
              <a:buFont typeface="Franklin Gothic Book" panose="020B05030201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Franklin Gothic Book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205588"/>
              </a:buClr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Franklin Gothic Book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205588"/>
              </a:buClr>
              <a:buFont typeface="Franklin Gothic Book" panose="020B05030201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Franklin Gothic Book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205588"/>
              </a:buClr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Franklin Gothic Book" pitchFamily="34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F061306-FB16-4496-8834-8E0620C41829}" type="datetime1">
              <a:rPr lang="en-US" sz="1599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7/10/2026</a:t>
            </a:fld>
            <a:endParaRPr lang="en-US" sz="1599" dirty="0">
              <a:solidFill>
                <a:srgbClr val="BCE7FD"/>
              </a:solidFill>
              <a:latin typeface="Barlow Condensed Medium" pitchFamily="2" charset="7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0080" y="1616990"/>
            <a:ext cx="7863840" cy="171498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3597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0080" y="3402282"/>
            <a:ext cx="7863840" cy="6851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buNone/>
              <a:defRPr sz="1599">
                <a:solidFill>
                  <a:schemeClr val="bg1"/>
                </a:solidFill>
              </a:defRPr>
            </a:lvl1pPr>
            <a:lvl2pPr marL="342591" indent="0" algn="ctr">
              <a:buNone/>
              <a:defRPr sz="1499"/>
            </a:lvl2pPr>
            <a:lvl3pPr marL="685183" indent="0" algn="ctr">
              <a:buNone/>
              <a:defRPr sz="1349"/>
            </a:lvl3pPr>
            <a:lvl4pPr marL="1027774" indent="0" algn="ctr">
              <a:buNone/>
              <a:defRPr sz="1199"/>
            </a:lvl4pPr>
            <a:lvl5pPr marL="1370366" indent="0" algn="ctr">
              <a:buNone/>
              <a:defRPr sz="1199"/>
            </a:lvl5pPr>
            <a:lvl6pPr marL="1712957" indent="0" algn="ctr">
              <a:buNone/>
              <a:defRPr sz="1199"/>
            </a:lvl6pPr>
            <a:lvl7pPr marL="2055548" indent="0" algn="ctr">
              <a:buNone/>
              <a:defRPr sz="1199"/>
            </a:lvl7pPr>
            <a:lvl8pPr marL="2398140" indent="0" algn="ctr">
              <a:buNone/>
              <a:defRPr sz="1199"/>
            </a:lvl8pPr>
            <a:lvl9pPr marL="2740731" indent="0" algn="ctr">
              <a:buNone/>
              <a:defRPr sz="1199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7" name="Picture 7" descr="Texas Department of Transportation logo">
            <a:extLst>
              <a:ext uri="{FF2B5EF4-FFF2-40B4-BE49-F238E27FC236}">
                <a16:creationId xmlns:a16="http://schemas.microsoft.com/office/drawing/2014/main" id="{30140041-EF4F-DEC9-3C06-6D80C73B68F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688961" y="641361"/>
            <a:ext cx="805407" cy="59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77966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886148"/>
            <a:ext cx="8229600" cy="294612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>
              <a:lnSpc>
                <a:spcPct val="100000"/>
              </a:lnSpc>
              <a:defRPr sz="2198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71032"/>
            <a:ext cx="8229600" cy="318711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394" indent="-228394">
              <a:lnSpc>
                <a:spcPct val="150000"/>
              </a:lnSpc>
              <a:spcBef>
                <a:spcPts val="0"/>
              </a:spcBef>
              <a:spcAft>
                <a:spcPts val="999"/>
              </a:spcAft>
              <a:buClr>
                <a:schemeClr val="accent1"/>
              </a:buClr>
              <a:buSzPct val="120000"/>
              <a:defRPr sz="1599"/>
            </a:lvl1pPr>
            <a:lvl2pPr marL="511603" indent="-228394">
              <a:lnSpc>
                <a:spcPct val="150000"/>
              </a:lnSpc>
              <a:spcBef>
                <a:spcPts val="0"/>
              </a:spcBef>
              <a:spcAft>
                <a:spcPts val="999"/>
              </a:spcAft>
              <a:buClr>
                <a:schemeClr val="accent1"/>
              </a:buClr>
              <a:buFont typeface="Verdana" panose="020B0604030504040204" pitchFamily="34" charset="0"/>
              <a:buChar char="-"/>
              <a:defRPr sz="1599"/>
            </a:lvl2pPr>
            <a:lvl3pPr marL="856478" indent="-228394">
              <a:lnSpc>
                <a:spcPct val="150000"/>
              </a:lnSpc>
              <a:spcBef>
                <a:spcPts val="0"/>
              </a:spcBef>
              <a:spcAft>
                <a:spcPts val="999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599"/>
            </a:lvl3pPr>
            <a:lvl4pPr marL="1199070" indent="-228394">
              <a:lnSpc>
                <a:spcPct val="150000"/>
              </a:lnSpc>
              <a:spcBef>
                <a:spcPts val="0"/>
              </a:spcBef>
              <a:spcAft>
                <a:spcPts val="999"/>
              </a:spcAft>
              <a:buClr>
                <a:schemeClr val="accent1"/>
              </a:buClr>
              <a:buFont typeface="Verdana" panose="020B0604030504040204" pitchFamily="34" charset="0"/>
              <a:buChar char="-"/>
              <a:defRPr sz="1599"/>
            </a:lvl4pPr>
            <a:lvl5pPr marL="1541661" indent="-228394">
              <a:lnSpc>
                <a:spcPct val="150000"/>
              </a:lnSpc>
              <a:spcBef>
                <a:spcPts val="0"/>
              </a:spcBef>
              <a:spcAft>
                <a:spcPts val="999"/>
              </a:spcAft>
              <a:buClr>
                <a:schemeClr val="accent1"/>
              </a:buClr>
              <a:buSzPct val="80000"/>
              <a:buFont typeface="Verdana" panose="020B0604030504040204" pitchFamily="34" charset="0"/>
              <a:buChar char="°"/>
              <a:defRPr sz="159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931FDFD-1E7F-4D38-B5E5-FEC4D41097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 rot="10800000">
            <a:off x="-9145" y="-23645"/>
            <a:ext cx="9162288" cy="568182"/>
          </a:xfrm>
          <a:prstGeom prst="rect">
            <a:avLst/>
          </a:prstGeom>
          <a:gradFill flip="none" rotWithShape="1">
            <a:gsLst>
              <a:gs pos="0">
                <a:srgbClr val="0057A8">
                  <a:lumMod val="61100"/>
                </a:srgbClr>
              </a:gs>
              <a:gs pos="100000">
                <a:srgbClr val="0057A8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99" dirty="0" err="1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68BFD85-22DB-E8C0-02E8-B0E843AA50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-9144" y="546488"/>
            <a:ext cx="9162288" cy="0"/>
          </a:xfrm>
          <a:prstGeom prst="line">
            <a:avLst/>
          </a:prstGeom>
          <a:ln w="12700">
            <a:solidFill>
              <a:srgbClr val="D90D0D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FCA67601-EED6-A212-C354-6B5497705C45}"/>
              </a:ext>
            </a:extLst>
          </p:cNvPr>
          <p:cNvSpPr txBox="1">
            <a:spLocks/>
          </p:cNvSpPr>
          <p:nvPr userDrawn="1"/>
        </p:nvSpPr>
        <p:spPr bwMode="gray">
          <a:xfrm>
            <a:off x="7883913" y="4597012"/>
            <a:ext cx="912155" cy="29519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05588"/>
                </a:solidFill>
                <a:effectLst/>
                <a:uLnTx/>
                <a:uFill>
                  <a:solidFill>
                    <a:schemeClr val="accent2"/>
                  </a:solidFill>
                </a:uFill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</a:lstStyle>
          <a:p>
            <a:pPr algn="r"/>
            <a:fld id="{604A7A6C-F878-3C4E-8FE1-6958E2950697}" type="slidenum">
              <a:rPr lang="en-US" sz="1599" b="1" smtClean="0">
                <a:solidFill>
                  <a:srgbClr val="0056A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‹#›</a:t>
            </a:fld>
            <a:endParaRPr lang="en-US" sz="1599" b="1" dirty="0">
              <a:solidFill>
                <a:srgbClr val="0056A9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0" name="Graphic 9" descr="Texas Department of Transportation logo">
            <a:extLst>
              <a:ext uri="{FF2B5EF4-FFF2-40B4-BE49-F238E27FC236}">
                <a16:creationId xmlns:a16="http://schemas.microsoft.com/office/drawing/2014/main" id="{DEFBA2DB-5453-FA7B-1121-348B59C86F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54153" y="102889"/>
            <a:ext cx="1738311" cy="315113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C5082226-0855-77B2-A0D3-EDF61E9FCC8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759866" y="0"/>
            <a:ext cx="2929983" cy="544535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05588"/>
                </a:solidFill>
                <a:effectLst/>
                <a:uLnTx/>
                <a:uFill>
                  <a:solidFill>
                    <a:schemeClr val="accent2"/>
                  </a:solidFill>
                </a:uFill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</a:lstStyle>
          <a:p>
            <a:pPr algn="r"/>
            <a:r>
              <a:rPr lang="en-US" sz="1399" i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necting you with Texas</a:t>
            </a:r>
          </a:p>
        </p:txBody>
      </p:sp>
    </p:spTree>
    <p:extLst>
      <p:ext uri="{BB962C8B-B14F-4D97-AF65-F5344CB8AC3E}">
        <p14:creationId xmlns:p14="http://schemas.microsoft.com/office/powerpoint/2010/main" val="1231363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931FDFD-1E7F-4D38-B5E5-FEC4D41097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 rot="10800000">
            <a:off x="-9145" y="-23645"/>
            <a:ext cx="9162288" cy="568182"/>
          </a:xfrm>
          <a:prstGeom prst="rect">
            <a:avLst/>
          </a:prstGeom>
          <a:gradFill flip="none" rotWithShape="1">
            <a:gsLst>
              <a:gs pos="0">
                <a:srgbClr val="0057A8">
                  <a:lumMod val="61100"/>
                </a:srgbClr>
              </a:gs>
              <a:gs pos="100000">
                <a:srgbClr val="0057A8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99" dirty="0" err="1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68BFD85-22DB-E8C0-02E8-B0E843AA50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-9144" y="546488"/>
            <a:ext cx="9162288" cy="0"/>
          </a:xfrm>
          <a:prstGeom prst="line">
            <a:avLst/>
          </a:prstGeom>
          <a:ln w="12700">
            <a:solidFill>
              <a:srgbClr val="D90D0D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itle 1">
            <a:extLst>
              <a:ext uri="{FF2B5EF4-FFF2-40B4-BE49-F238E27FC236}">
                <a16:creationId xmlns:a16="http://schemas.microsoft.com/office/drawing/2014/main" id="{77BD6E4E-AE77-4FF6-8629-52414DF997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-9145" y="5505751"/>
            <a:ext cx="8229600" cy="294612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>
              <a:lnSpc>
                <a:spcPct val="100000"/>
              </a:lnSpc>
              <a:defRPr sz="2198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campaign slide title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1DB103-094C-911C-9AAE-B406451E0E6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759866" y="0"/>
            <a:ext cx="2929983" cy="544535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05588"/>
                </a:solidFill>
                <a:effectLst/>
                <a:uLnTx/>
                <a:uFill>
                  <a:solidFill>
                    <a:schemeClr val="accent2"/>
                  </a:solidFill>
                </a:uFill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</a:lstStyle>
          <a:p>
            <a:pPr algn="r"/>
            <a:r>
              <a:rPr lang="en-US" sz="1399" i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necting you with Texas</a:t>
            </a:r>
          </a:p>
        </p:txBody>
      </p:sp>
      <p:pic>
        <p:nvPicPr>
          <p:cNvPr id="4" name="Graphic 3" descr="Texas Department of Transportation logo">
            <a:extLst>
              <a:ext uri="{FF2B5EF4-FFF2-40B4-BE49-F238E27FC236}">
                <a16:creationId xmlns:a16="http://schemas.microsoft.com/office/drawing/2014/main" id="{53FBEE52-1176-DE2A-FEFD-1109D4D85E9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54153" y="102889"/>
            <a:ext cx="1738311" cy="315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9702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Imag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AF14AA4-436D-6C64-B544-ADC317BC64F4}"/>
              </a:ext>
            </a:extLst>
          </p:cNvPr>
          <p:cNvSpPr>
            <a:spLocks/>
          </p:cNvSpPr>
          <p:nvPr userDrawn="1"/>
        </p:nvSpPr>
        <p:spPr>
          <a:xfrm>
            <a:off x="-9145" y="3716497"/>
            <a:ext cx="9162288" cy="1434720"/>
          </a:xfrm>
          <a:prstGeom prst="rect">
            <a:avLst/>
          </a:prstGeom>
          <a:gradFill flip="none" rotWithShape="1">
            <a:gsLst>
              <a:gs pos="0">
                <a:srgbClr val="0057A8">
                  <a:lumMod val="61100"/>
                </a:srgbClr>
              </a:gs>
              <a:gs pos="100000">
                <a:srgbClr val="0057A8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99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036000"/>
            <a:ext cx="6665976" cy="475261"/>
          </a:xfrm>
          <a:prstGeom prst="rect">
            <a:avLst/>
          </a:prstGeom>
        </p:spPr>
        <p:txBody>
          <a:bodyPr wrap="none" lIns="0" tIns="0" rIns="0" bIns="0" anchor="b">
            <a:noAutofit/>
          </a:bodyPr>
          <a:lstStyle>
            <a:lvl1pPr algn="l">
              <a:lnSpc>
                <a:spcPct val="100000"/>
              </a:lnSpc>
              <a:defRPr sz="239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4532924"/>
            <a:ext cx="6665976" cy="228389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 marL="0" indent="0" algn="l">
              <a:lnSpc>
                <a:spcPct val="100000"/>
              </a:lnSpc>
              <a:buNone/>
              <a:defRPr sz="1399">
                <a:solidFill>
                  <a:schemeClr val="bg1"/>
                </a:solidFill>
              </a:defRPr>
            </a:lvl1pPr>
            <a:lvl2pPr marL="342591" indent="0" algn="ctr">
              <a:buNone/>
              <a:defRPr sz="1499"/>
            </a:lvl2pPr>
            <a:lvl3pPr marL="685183" indent="0" algn="ctr">
              <a:buNone/>
              <a:defRPr sz="1349"/>
            </a:lvl3pPr>
            <a:lvl4pPr marL="1027774" indent="0" algn="ctr">
              <a:buNone/>
              <a:defRPr sz="1199"/>
            </a:lvl4pPr>
            <a:lvl5pPr marL="1370366" indent="0" algn="ctr">
              <a:buNone/>
              <a:defRPr sz="1199"/>
            </a:lvl5pPr>
            <a:lvl6pPr marL="1712957" indent="0" algn="ctr">
              <a:buNone/>
              <a:defRPr sz="1199"/>
            </a:lvl6pPr>
            <a:lvl7pPr marL="2055548" indent="0" algn="ctr">
              <a:buNone/>
              <a:defRPr sz="1199"/>
            </a:lvl7pPr>
            <a:lvl8pPr marL="2398140" indent="0" algn="ctr">
              <a:buNone/>
              <a:defRPr sz="1199"/>
            </a:lvl8pPr>
            <a:lvl9pPr marL="2740731" indent="0" algn="ctr">
              <a:buNone/>
              <a:defRPr sz="1199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BA7821B-A887-DC06-2115-588BAB4C78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5843" y="3973559"/>
            <a:ext cx="968319" cy="625405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0ADA73D4-6F66-7F18-E5F2-004660395239}"/>
              </a:ext>
            </a:extLst>
          </p:cNvPr>
          <p:cNvSpPr txBox="1">
            <a:spLocks/>
          </p:cNvSpPr>
          <p:nvPr userDrawn="1"/>
        </p:nvSpPr>
        <p:spPr>
          <a:xfrm>
            <a:off x="7250176" y="4723796"/>
            <a:ext cx="1436624" cy="170358"/>
          </a:xfrm>
          <a:prstGeom prst="rect">
            <a:avLst/>
          </a:prstGeom>
          <a:noFill/>
        </p:spPr>
        <p:txBody>
          <a:bodyPr vert="horz" wrap="none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205588"/>
              </a:buClr>
              <a:buFont typeface="Wingdings" pitchFamily="2" charset="2"/>
              <a:buNone/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  <a:lvl2pPr marL="457200" indent="0" algn="ctr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205588"/>
              </a:buClr>
              <a:buFont typeface="Franklin Gothic Book" panose="020B05030201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Franklin Gothic Book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205588"/>
              </a:buClr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Franklin Gothic Book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205588"/>
              </a:buClr>
              <a:buFont typeface="Franklin Gothic Book" panose="020B05030201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Franklin Gothic Book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205588"/>
              </a:buClr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Franklin Gothic Book" pitchFamily="34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1387ACB-94C1-7B4A-B2CF-72E6FB9CDF26}" type="datetime4">
              <a:rPr lang="en-US" sz="999" smtClean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July 10, 2026</a:t>
            </a:fld>
            <a:endParaRPr lang="en-US" sz="999" dirty="0">
              <a:solidFill>
                <a:srgbClr val="BCE7FD"/>
              </a:solidFill>
              <a:latin typeface="+mn-lt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ECAF199-AE96-F9A3-21D5-1A4B51244BDC}"/>
              </a:ext>
            </a:extLst>
          </p:cNvPr>
          <p:cNvCxnSpPr>
            <a:cxnSpLocks/>
          </p:cNvCxnSpPr>
          <p:nvPr userDrawn="1"/>
        </p:nvCxnSpPr>
        <p:spPr>
          <a:xfrm>
            <a:off x="-9144" y="3716496"/>
            <a:ext cx="9162288" cy="0"/>
          </a:xfrm>
          <a:prstGeom prst="line">
            <a:avLst/>
          </a:prstGeom>
          <a:ln w="38100">
            <a:solidFill>
              <a:srgbClr val="D90D0D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297D681-6979-610D-1988-DD743790542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9525" y="-9135"/>
            <a:ext cx="9163050" cy="3709029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337766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Image and Long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AF14AA4-436D-6C64-B544-ADC317BC64F4}"/>
              </a:ext>
            </a:extLst>
          </p:cNvPr>
          <p:cNvSpPr>
            <a:spLocks/>
          </p:cNvSpPr>
          <p:nvPr userDrawn="1"/>
        </p:nvSpPr>
        <p:spPr>
          <a:xfrm>
            <a:off x="-9145" y="3716497"/>
            <a:ext cx="9162288" cy="1434720"/>
          </a:xfrm>
          <a:prstGeom prst="rect">
            <a:avLst/>
          </a:prstGeom>
          <a:gradFill flip="none" rotWithShape="1">
            <a:gsLst>
              <a:gs pos="0">
                <a:srgbClr val="0057A8">
                  <a:lumMod val="61100"/>
                </a:srgbClr>
              </a:gs>
              <a:gs pos="100000">
                <a:srgbClr val="0057A8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/>
            <a:endParaRPr lang="en-US" sz="1199" dirty="0" err="1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ECAF199-AE96-F9A3-21D5-1A4B51244BDC}"/>
              </a:ext>
            </a:extLst>
          </p:cNvPr>
          <p:cNvCxnSpPr>
            <a:cxnSpLocks/>
          </p:cNvCxnSpPr>
          <p:nvPr userDrawn="1"/>
        </p:nvCxnSpPr>
        <p:spPr>
          <a:xfrm>
            <a:off x="-9144" y="3716496"/>
            <a:ext cx="9162288" cy="0"/>
          </a:xfrm>
          <a:prstGeom prst="line">
            <a:avLst/>
          </a:prstGeom>
          <a:ln w="38100">
            <a:solidFill>
              <a:srgbClr val="D90D0D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010502"/>
            <a:ext cx="6665976" cy="840470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>
            <a:lvl1pPr algn="l">
              <a:defRPr sz="239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BA7821B-A887-DC06-2115-588BAB4C78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5843" y="3973559"/>
            <a:ext cx="968319" cy="625405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0ADA73D4-6F66-7F18-E5F2-004660395239}"/>
              </a:ext>
            </a:extLst>
          </p:cNvPr>
          <p:cNvSpPr txBox="1">
            <a:spLocks/>
          </p:cNvSpPr>
          <p:nvPr userDrawn="1"/>
        </p:nvSpPr>
        <p:spPr>
          <a:xfrm>
            <a:off x="7250176" y="4723796"/>
            <a:ext cx="1436624" cy="170358"/>
          </a:xfrm>
          <a:prstGeom prst="rect">
            <a:avLst/>
          </a:prstGeom>
          <a:noFill/>
        </p:spPr>
        <p:txBody>
          <a:bodyPr vert="horz" wrap="none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205588"/>
              </a:buClr>
              <a:buFont typeface="Wingdings" pitchFamily="2" charset="2"/>
              <a:buNone/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  <a:lvl2pPr marL="457200" indent="0" algn="ctr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205588"/>
              </a:buClr>
              <a:buFont typeface="Franklin Gothic Book" panose="020B05030201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Franklin Gothic Book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205588"/>
              </a:buClr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Franklin Gothic Book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205588"/>
              </a:buClr>
              <a:buFont typeface="Franklin Gothic Book" panose="020B05030201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Franklin Gothic Book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205588"/>
              </a:buClr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Franklin Gothic Book" pitchFamily="34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1387ACB-94C1-7B4A-B2CF-72E6FB9CDF26}" type="datetime4">
              <a:rPr lang="en-US" sz="999" smtClean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July 10, 2026</a:t>
            </a:fld>
            <a:endParaRPr lang="en-US" sz="999" dirty="0">
              <a:solidFill>
                <a:srgbClr val="BCE7FD"/>
              </a:solidFill>
              <a:latin typeface="+mn-lt"/>
            </a:endParaRPr>
          </a:p>
        </p:txBody>
      </p:sp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7593ED4F-ECDC-36E8-7E33-54BD57010E2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9525" y="-9135"/>
            <a:ext cx="9163050" cy="3709029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5915378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OU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4B9F2E4-EBAA-496A-3A84-89E9137EF31E}"/>
              </a:ext>
            </a:extLst>
          </p:cNvPr>
          <p:cNvSpPr>
            <a:spLocks/>
          </p:cNvSpPr>
          <p:nvPr userDrawn="1"/>
        </p:nvSpPr>
        <p:spPr>
          <a:xfrm>
            <a:off x="-9145" y="-9135"/>
            <a:ext cx="9162288" cy="5161580"/>
          </a:xfrm>
          <a:prstGeom prst="rect">
            <a:avLst/>
          </a:prstGeom>
          <a:gradFill flip="none" rotWithShape="1">
            <a:gsLst>
              <a:gs pos="0">
                <a:srgbClr val="0057A8">
                  <a:lumMod val="61100"/>
                </a:srgbClr>
              </a:gs>
              <a:gs pos="100000">
                <a:srgbClr val="0057A8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99" dirty="0" err="1"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D8C8299-F83F-D714-FFDE-A89D5626D3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-9144" y="0"/>
            <a:ext cx="9162288" cy="5154574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2C91761-A700-7455-06A4-7D583C75D31C}"/>
              </a:ext>
            </a:extLst>
          </p:cNvPr>
          <p:cNvCxnSpPr>
            <a:cxnSpLocks/>
          </p:cNvCxnSpPr>
          <p:nvPr userDrawn="1"/>
        </p:nvCxnSpPr>
        <p:spPr>
          <a:xfrm>
            <a:off x="-9145" y="14974"/>
            <a:ext cx="9162288" cy="0"/>
          </a:xfrm>
          <a:prstGeom prst="line">
            <a:avLst/>
          </a:prstGeom>
          <a:ln w="38100">
            <a:solidFill>
              <a:srgbClr val="D90D0D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704EF006-A913-6084-A2A7-66E199F44F7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355" y="628121"/>
            <a:ext cx="968319" cy="625405"/>
          </a:xfrm>
          <a:prstGeom prst="rect">
            <a:avLst/>
          </a:prstGeom>
        </p:spPr>
      </p:pic>
      <p:sp>
        <p:nvSpPr>
          <p:cNvPr id="12" name="Subtitle 2">
            <a:extLst>
              <a:ext uri="{FF2B5EF4-FFF2-40B4-BE49-F238E27FC236}">
                <a16:creationId xmlns:a16="http://schemas.microsoft.com/office/drawing/2014/main" id="{DD5C73F3-3B2E-2FDA-8150-8AE80181A778}"/>
              </a:ext>
            </a:extLst>
          </p:cNvPr>
          <p:cNvSpPr txBox="1">
            <a:spLocks/>
          </p:cNvSpPr>
          <p:nvPr userDrawn="1"/>
        </p:nvSpPr>
        <p:spPr>
          <a:xfrm>
            <a:off x="6565392" y="720486"/>
            <a:ext cx="1942064" cy="170358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205588"/>
              </a:buClr>
              <a:buFont typeface="Wingdings" pitchFamily="2" charset="2"/>
              <a:buNone/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  <a:lvl2pPr marL="457200" indent="0" algn="ctr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205588"/>
              </a:buClr>
              <a:buFont typeface="Franklin Gothic Book" panose="020B05030201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Franklin Gothic Book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205588"/>
              </a:buClr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Franklin Gothic Book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205588"/>
              </a:buClr>
              <a:buFont typeface="Franklin Gothic Book" panose="020B05030201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Franklin Gothic Book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205588"/>
              </a:buClr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Franklin Gothic Book" pitchFamily="34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uly 2, 2026</a:t>
            </a:r>
            <a:endParaRPr lang="en-US" sz="999" dirty="0">
              <a:solidFill>
                <a:srgbClr val="BCE7FD"/>
              </a:solidFill>
              <a:latin typeface="Barlow Condensed Medium" pitchFamily="2" charset="7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0080" y="1616990"/>
            <a:ext cx="7863840" cy="1714988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59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0080" y="3402282"/>
            <a:ext cx="7863840" cy="68516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buNone/>
              <a:defRPr sz="1399">
                <a:solidFill>
                  <a:schemeClr val="bg1"/>
                </a:solidFill>
              </a:defRPr>
            </a:lvl1pPr>
            <a:lvl2pPr marL="342591" indent="0" algn="ctr">
              <a:buNone/>
              <a:defRPr sz="1499"/>
            </a:lvl2pPr>
            <a:lvl3pPr marL="685183" indent="0" algn="ctr">
              <a:buNone/>
              <a:defRPr sz="1349"/>
            </a:lvl3pPr>
            <a:lvl4pPr marL="1027774" indent="0" algn="ctr">
              <a:buNone/>
              <a:defRPr sz="1199"/>
            </a:lvl4pPr>
            <a:lvl5pPr marL="1370366" indent="0" algn="ctr">
              <a:buNone/>
              <a:defRPr sz="1199"/>
            </a:lvl5pPr>
            <a:lvl6pPr marL="1712957" indent="0" algn="ctr">
              <a:buNone/>
              <a:defRPr sz="1199"/>
            </a:lvl6pPr>
            <a:lvl7pPr marL="2055548" indent="0" algn="ctr">
              <a:buNone/>
              <a:defRPr sz="1199"/>
            </a:lvl7pPr>
            <a:lvl8pPr marL="2398140" indent="0" algn="ctr">
              <a:buNone/>
              <a:defRPr sz="1199"/>
            </a:lvl8pPr>
            <a:lvl9pPr marL="2740731" indent="0" algn="ctr">
              <a:buNone/>
              <a:defRPr sz="1199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684942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886148"/>
            <a:ext cx="8229600" cy="294612"/>
          </a:xfrm>
          <a:prstGeom prst="rect">
            <a:avLst/>
          </a:prstGeom>
        </p:spPr>
        <p:txBody>
          <a:bodyPr wrap="none" lIns="0" tIns="0" rIns="0" bIns="0" anchor="b" anchorCtr="0">
            <a:normAutofit/>
          </a:bodyPr>
          <a:lstStyle>
            <a:lvl1pPr>
              <a:lnSpc>
                <a:spcPct val="100000"/>
              </a:lnSpc>
              <a:defRPr sz="2198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71032"/>
            <a:ext cx="8229600" cy="318711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28394" indent="-228394">
              <a:lnSpc>
                <a:spcPct val="120000"/>
              </a:lnSpc>
              <a:spcAft>
                <a:spcPts val="599"/>
              </a:spcAft>
              <a:buClr>
                <a:schemeClr val="accent1"/>
              </a:buClr>
              <a:buSzPct val="120000"/>
              <a:defRPr sz="1499"/>
            </a:lvl1pPr>
            <a:lvl2pPr marL="566418" indent="-228394">
              <a:lnSpc>
                <a:spcPct val="120000"/>
              </a:lnSpc>
              <a:spcAft>
                <a:spcPts val="599"/>
              </a:spcAft>
              <a:buClr>
                <a:schemeClr val="accent1"/>
              </a:buClr>
              <a:buFont typeface="Verdana" panose="020B0604030504040204" pitchFamily="34" charset="0"/>
              <a:buChar char="-"/>
              <a:defRPr sz="1499"/>
            </a:lvl2pPr>
            <a:lvl3pPr marL="856478" indent="-228394">
              <a:lnSpc>
                <a:spcPct val="120000"/>
              </a:lnSpc>
              <a:spcAft>
                <a:spcPts val="599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99"/>
            </a:lvl3pPr>
            <a:lvl4pPr marL="1199070" indent="-228394">
              <a:lnSpc>
                <a:spcPct val="120000"/>
              </a:lnSpc>
              <a:spcAft>
                <a:spcPts val="599"/>
              </a:spcAft>
              <a:buClr>
                <a:schemeClr val="accent1"/>
              </a:buClr>
              <a:buFont typeface="Verdana" panose="020B0604030504040204" pitchFamily="34" charset="0"/>
              <a:buChar char="-"/>
              <a:defRPr sz="1499"/>
            </a:lvl4pPr>
            <a:lvl5pPr marL="1541661" indent="-228394">
              <a:lnSpc>
                <a:spcPct val="120000"/>
              </a:lnSpc>
              <a:spcAft>
                <a:spcPts val="599"/>
              </a:spcAft>
              <a:buClr>
                <a:schemeClr val="accent1"/>
              </a:buClr>
              <a:buSzPct val="80000"/>
              <a:buFont typeface="Verdana" panose="020B0604030504040204" pitchFamily="34" charset="0"/>
              <a:buChar char="°"/>
              <a:defRPr sz="149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931FDFD-1E7F-4D38-B5E5-FEC4D4109758}"/>
              </a:ext>
            </a:extLst>
          </p:cNvPr>
          <p:cNvSpPr>
            <a:spLocks/>
          </p:cNvSpPr>
          <p:nvPr userDrawn="1"/>
        </p:nvSpPr>
        <p:spPr>
          <a:xfrm rot="10800000">
            <a:off x="-9145" y="-23645"/>
            <a:ext cx="9162288" cy="568182"/>
          </a:xfrm>
          <a:prstGeom prst="rect">
            <a:avLst/>
          </a:prstGeom>
          <a:gradFill flip="none" rotWithShape="1">
            <a:gsLst>
              <a:gs pos="0">
                <a:srgbClr val="0057A8">
                  <a:lumMod val="61100"/>
                </a:srgbClr>
              </a:gs>
              <a:gs pos="100000">
                <a:srgbClr val="0057A8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99" dirty="0" err="1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68BFD85-22DB-E8C0-02E8-B0E843AA503D}"/>
              </a:ext>
            </a:extLst>
          </p:cNvPr>
          <p:cNvCxnSpPr>
            <a:cxnSpLocks/>
          </p:cNvCxnSpPr>
          <p:nvPr userDrawn="1"/>
        </p:nvCxnSpPr>
        <p:spPr>
          <a:xfrm>
            <a:off x="-9144" y="546488"/>
            <a:ext cx="9162288" cy="0"/>
          </a:xfrm>
          <a:prstGeom prst="line">
            <a:avLst/>
          </a:prstGeom>
          <a:ln w="12700">
            <a:solidFill>
              <a:srgbClr val="D90D0D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FCA67601-EED6-A212-C354-6B5497705C45}"/>
              </a:ext>
            </a:extLst>
          </p:cNvPr>
          <p:cNvSpPr txBox="1">
            <a:spLocks/>
          </p:cNvSpPr>
          <p:nvPr userDrawn="1"/>
        </p:nvSpPr>
        <p:spPr bwMode="gray">
          <a:xfrm>
            <a:off x="7883913" y="4597012"/>
            <a:ext cx="912155" cy="29519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05588"/>
                </a:solidFill>
                <a:effectLst/>
                <a:uLnTx/>
                <a:uFill>
                  <a:solidFill>
                    <a:schemeClr val="accent2"/>
                  </a:solidFill>
                </a:uFill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</a:lstStyle>
          <a:p>
            <a:pPr algn="r"/>
            <a:fld id="{604A7A6C-F878-3C4E-8FE1-6958E2950697}" type="slidenum">
              <a:rPr lang="en-US" sz="1599" b="1" smtClean="0">
                <a:solidFill>
                  <a:srgbClr val="0056A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‹#›</a:t>
            </a:fld>
            <a:endParaRPr lang="en-US" sz="1599" b="1" dirty="0">
              <a:solidFill>
                <a:srgbClr val="0056A9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EFBA2DB-5453-FA7B-1121-348B59C86F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102889"/>
            <a:ext cx="1854200" cy="315113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C5082226-0855-77B2-A0D3-EDF61E9FCC8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556248" y="0"/>
            <a:ext cx="2133600" cy="544535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05588"/>
                </a:solidFill>
                <a:effectLst/>
                <a:uLnTx/>
                <a:uFill>
                  <a:solidFill>
                    <a:schemeClr val="accent2"/>
                  </a:solidFill>
                </a:uFill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</a:lstStyle>
          <a:p>
            <a:pPr algn="r"/>
            <a:r>
              <a:rPr lang="en-US" sz="999" i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necting you with Texas.</a:t>
            </a:r>
          </a:p>
        </p:txBody>
      </p:sp>
    </p:spTree>
    <p:extLst>
      <p:ext uri="{BB962C8B-B14F-4D97-AF65-F5344CB8AC3E}">
        <p14:creationId xmlns:p14="http://schemas.microsoft.com/office/powerpoint/2010/main" val="194229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037019D0-A5ED-FD4B-AEE1-74EB27150FF0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512064" y="2782641"/>
            <a:ext cx="4114800" cy="1057275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05588"/>
                </a:solidFill>
                <a:effectLst/>
                <a:uLnTx/>
                <a:uFill>
                  <a:solidFill>
                    <a:schemeClr val="accent2"/>
                  </a:solidFill>
                </a:uFill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resentation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DAB146-7CA5-3045-9FD9-49A2E4FAFDC1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512064" y="3955235"/>
            <a:ext cx="4114800" cy="433125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Subtitl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3F1BDFE-A84E-0B49-98CA-0031467166C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4715184"/>
            <a:ext cx="9144000" cy="43872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2E54B812-2722-0744-9345-3F01F6ADAB30}"/>
              </a:ext>
            </a:extLst>
          </p:cNvPr>
          <p:cNvSpPr/>
          <p:nvPr userDrawn="1"/>
        </p:nvSpPr>
        <p:spPr>
          <a:xfrm>
            <a:off x="0" y="-5317"/>
            <a:ext cx="9144000" cy="630821"/>
          </a:xfrm>
          <a:prstGeom prst="rect">
            <a:avLst/>
          </a:prstGeom>
          <a:solidFill>
            <a:srgbClr val="D0D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0537349-7310-B044-851F-0CE3F0D0F09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lum bright="100000" contrast="-100000"/>
            <a:alphaModFix amt="77000"/>
          </a:blip>
          <a:stretch>
            <a:fillRect/>
          </a:stretch>
        </p:blipFill>
        <p:spPr>
          <a:xfrm>
            <a:off x="8408890" y="98066"/>
            <a:ext cx="567770" cy="402768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7353F87-7CAC-4625-868B-12D844C0F014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870950" y="4864608"/>
            <a:ext cx="211057" cy="1406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r" defTabSz="914400" rtl="0" eaLnBrk="1" latinLnBrk="0" hangingPunct="1">
              <a:buNone/>
              <a:def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ranklin Gothic Demi" panose="020B0703020102020204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B5381D-3A0A-4C11-9013-114EFA517F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663F9ED-6FB6-44F7-A15B-083E258FEEA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21063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Questions and Discussion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Image result for questions&#10;&#10;https://www.google.com/url?sa=i&amp;source=images&amp;cd=&amp;cad=rja&amp;uact=8&amp;ved=2ahUKEwjR0rXrhfXfAhVFPK0KHWzvDbYQjRx6BAgBEAU&amp;url=http%3A%2F%2Fquestionspedia.com%2Feither-or-questions.html&amp;psig=AOvVaw3GskY9fVuYaEB2cx5vJr3S&amp;ust=1547822259051542">
            <a:extLst>
              <a:ext uri="{FF2B5EF4-FFF2-40B4-BE49-F238E27FC236}">
                <a16:creationId xmlns:a16="http://schemas.microsoft.com/office/drawing/2014/main" id="{42FC56DD-F654-4164-A557-229F1E15EC4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2451" cy="51435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652826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F4A7728-080A-084F-9574-95AC715091D2}"/>
              </a:ext>
            </a:extLst>
          </p:cNvPr>
          <p:cNvSpPr/>
          <p:nvPr userDrawn="1"/>
        </p:nvSpPr>
        <p:spPr>
          <a:xfrm>
            <a:off x="0" y="-5317"/>
            <a:ext cx="9144000" cy="630821"/>
          </a:xfrm>
          <a:prstGeom prst="rect">
            <a:avLst/>
          </a:prstGeom>
          <a:solidFill>
            <a:srgbClr val="D0D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3620133-B656-3B44-AD89-AC6A20B509E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lum bright="100000" contrast="-100000"/>
            <a:alphaModFix amt="77000"/>
          </a:blip>
          <a:stretch>
            <a:fillRect/>
          </a:stretch>
        </p:blipFill>
        <p:spPr>
          <a:xfrm>
            <a:off x="8408890" y="98066"/>
            <a:ext cx="567770" cy="402768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83DFAF4-861C-4CCC-8BCC-3DAE6525BC19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870950" y="4864608"/>
            <a:ext cx="211057" cy="1406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r" defTabSz="914400" rtl="0" eaLnBrk="1" latinLnBrk="0" hangingPunct="1">
              <a:buNone/>
              <a:def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ranklin Gothic Demi" panose="020B0703020102020204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13BC544-BD04-4A45-B856-C2B06265A25F}"/>
              </a:ext>
            </a:extLst>
          </p:cNvPr>
          <p:cNvSpPr/>
          <p:nvPr userDrawn="1"/>
        </p:nvSpPr>
        <p:spPr>
          <a:xfrm>
            <a:off x="0" y="0"/>
            <a:ext cx="9144000" cy="630821"/>
          </a:xfrm>
          <a:prstGeom prst="rect">
            <a:avLst/>
          </a:prstGeom>
          <a:solidFill>
            <a:srgbClr val="D0D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4684D38-A2A2-C643-AAE3-F3D5B6A1F9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lum bright="100000" contrast="-100000"/>
            <a:alphaModFix amt="77000"/>
          </a:blip>
          <a:stretch>
            <a:fillRect/>
          </a:stretch>
        </p:blipFill>
        <p:spPr>
          <a:xfrm>
            <a:off x="8408890" y="98066"/>
            <a:ext cx="567770" cy="402768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0054A0D-968E-4AE6-8428-F4E29C63BF63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870950" y="4864608"/>
            <a:ext cx="211057" cy="1406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r" defTabSz="914400" rtl="0" eaLnBrk="1" latinLnBrk="0" hangingPunct="1">
              <a:buNone/>
              <a:def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ranklin Gothic Demi" panose="020B0703020102020204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Z_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 userDrawn="1"/>
        </p:nvCxnSpPr>
        <p:spPr>
          <a:xfrm>
            <a:off x="512064" y="3160833"/>
            <a:ext cx="413398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099"/>
          <a:stretch/>
        </p:blipFill>
        <p:spPr>
          <a:xfrm>
            <a:off x="4981415" y="531805"/>
            <a:ext cx="4087522" cy="3855951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064" y="2161744"/>
            <a:ext cx="2314257" cy="781382"/>
          </a:xfrm>
          <a:prstGeom prst="rect">
            <a:avLst/>
          </a:prstGeom>
        </p:spPr>
      </p:pic>
      <p:sp>
        <p:nvSpPr>
          <p:cNvPr id="12" name="Subtitle 2">
            <a:extLst>
              <a:ext uri="{FF2B5EF4-FFF2-40B4-BE49-F238E27FC236}">
                <a16:creationId xmlns:a16="http://schemas.microsoft.com/office/drawing/2014/main" id="{514B2B9B-2570-264C-BAED-5407D10DB918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512064" y="3955235"/>
            <a:ext cx="4114800" cy="433125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Subtitle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A6A43225-99DB-9A40-902B-EE9A13FF864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4715184"/>
            <a:ext cx="9144000" cy="43872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F4AE025-9B04-274C-8DF9-1E9000B6E18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314" y="4754974"/>
            <a:ext cx="2820447" cy="320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9584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5000"/>
    </mc:Choice>
    <mc:Fallback xmlns="">
      <p:transition spd="slow" advClick="0" advTm="5000"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900"/>
              </a:spcAft>
              <a:defRPr sz="1500">
                <a:latin typeface="Franklin Gothic Book" pitchFamily="34" charset="0"/>
              </a:defRPr>
            </a:lvl1pPr>
            <a:lvl2pPr>
              <a:spcBef>
                <a:spcPts val="0"/>
              </a:spcBef>
              <a:spcAft>
                <a:spcPts val="900"/>
              </a:spcAft>
              <a:defRPr sz="1500">
                <a:latin typeface="Franklin Gothic Book" pitchFamily="34" charset="0"/>
              </a:defRPr>
            </a:lvl2pPr>
            <a:lvl3pPr>
              <a:spcBef>
                <a:spcPts val="0"/>
              </a:spcBef>
              <a:spcAft>
                <a:spcPts val="900"/>
              </a:spcAft>
              <a:defRPr sz="1500">
                <a:latin typeface="Franklin Gothic Book" pitchFamily="34" charset="0"/>
              </a:defRPr>
            </a:lvl3pPr>
            <a:lvl4pPr>
              <a:spcBef>
                <a:spcPts val="0"/>
              </a:spcBef>
              <a:spcAft>
                <a:spcPts val="900"/>
              </a:spcAft>
              <a:defRPr sz="1500">
                <a:latin typeface="Franklin Gothic Book" pitchFamily="34" charset="0"/>
              </a:defRPr>
            </a:lvl4pPr>
            <a:lvl5pPr>
              <a:spcBef>
                <a:spcPts val="0"/>
              </a:spcBef>
              <a:spcAft>
                <a:spcPts val="900"/>
              </a:spcAft>
              <a:defRPr sz="1500">
                <a:latin typeface="Franklin Gothic Book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Rectangle 3"/>
          <p:cNvSpPr/>
          <p:nvPr userDrawn="1">
            <p:custDataLst>
              <p:tags r:id="rId1"/>
            </p:custDataLst>
          </p:nvPr>
        </p:nvSpPr>
        <p:spPr>
          <a:xfrm>
            <a:off x="8886826" y="4934549"/>
            <a:ext cx="257175" cy="1428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9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  <p:custDataLst>
              <p:tags r:id="rId2"/>
            </p:custDataLst>
          </p:nvPr>
        </p:nvSpPr>
        <p:spPr>
          <a:xfrm>
            <a:off x="8870950" y="4936797"/>
            <a:ext cx="211057" cy="1406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r" defTabSz="685800" rtl="0" eaLnBrk="1" latinLnBrk="0" hangingPunct="1">
              <a:buNone/>
              <a:def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675"/>
              </a:spcBef>
            </a:pPr>
            <a:r>
              <a:rPr lang="en-US"/>
              <a:t>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741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6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5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9C3D2E47-2E1E-CE49-BEE2-8415387622A7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4715184"/>
            <a:ext cx="9144000" cy="438727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11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0" imgH="0" progId="">
                  <p:embed/>
                </p:oleObj>
              </mc:Choice>
              <mc:Fallback>
                <p:oleObj name="think-cell Slide" r:id="rId17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 bwMode="gray">
          <a:xfrm>
            <a:off x="253678" y="108926"/>
            <a:ext cx="8353424" cy="40233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>
          <a:xfrm>
            <a:off x="253678" y="792314"/>
            <a:ext cx="8477250" cy="3886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56032" y="4715184"/>
            <a:ext cx="4267200" cy="438727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Franklin Gothic Book" pitchFamily="34" charset="0"/>
              </a:rPr>
              <a:t>Professional Engineering Procurement Services (PEPS) Division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BBBF4F3-27CF-584C-B354-C1AF0B34B8BD}"/>
              </a:ext>
            </a:extLst>
          </p:cNvPr>
          <p:cNvSpPr txBox="1"/>
          <p:nvPr/>
        </p:nvSpPr>
        <p:spPr>
          <a:xfrm>
            <a:off x="6995880" y="4715184"/>
            <a:ext cx="1634889" cy="428316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r"/>
            <a:endParaRPr lang="en-US" sz="1200" dirty="0">
              <a:solidFill>
                <a:schemeClr val="bg1"/>
              </a:solidFill>
              <a:latin typeface="Franklin Gothic Book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C99C431-47F6-405E-97C2-1186AEFCA3FF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8886826" y="4846320"/>
            <a:ext cx="257175" cy="177300"/>
          </a:xfrm>
          <a:prstGeom prst="rect">
            <a:avLst/>
          </a:prstGeom>
          <a:solidFill>
            <a:srgbClr val="0B1F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0304E6EC-303A-45B3-B74C-309CD87916DD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15"/>
            </p:custDataLst>
          </p:nvPr>
        </p:nvSpPr>
        <p:spPr>
          <a:xfrm>
            <a:off x="8870950" y="4864608"/>
            <a:ext cx="211057" cy="1406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r" defTabSz="914400" rtl="0" eaLnBrk="1" latinLnBrk="0" hangingPunct="1">
              <a:buNone/>
              <a:def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ranklin Gothic Demi" panose="020B0703020102020204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63" r:id="rId4"/>
    <p:sldLayoutId id="2147483664" r:id="rId5"/>
    <p:sldLayoutId id="2147483654" r:id="rId6"/>
    <p:sldLayoutId id="2147483655" r:id="rId7"/>
    <p:sldLayoutId id="2147483661" r:id="rId8"/>
    <p:sldLayoutId id="2147483662" r:id="rId9"/>
  </p:sldLayoutIdLst>
  <p:hf hdr="0" dt="0"/>
  <p:txStyles>
    <p:titleStyle>
      <a:lvl1pPr marL="0" algn="l" defTabSz="914400" rtl="0" eaLnBrk="1" latinLnBrk="0" hangingPunct="1">
        <a:lnSpc>
          <a:spcPct val="100000"/>
        </a:lnSpc>
        <a:spcBef>
          <a:spcPct val="0"/>
        </a:spcBef>
        <a:buNone/>
        <a:defRPr lang="en-US" sz="2000" b="0" kern="1200" dirty="0" smtClean="0">
          <a:solidFill>
            <a:srgbClr val="205588"/>
          </a:solidFill>
          <a:effectLst/>
          <a:latin typeface="Franklin Gothic Demi" pitchFamily="34" charset="0"/>
          <a:ea typeface="+mn-ea"/>
          <a:cs typeface="Arial" pitchFamily="34" charset="0"/>
        </a:defRPr>
      </a:lvl1pPr>
    </p:titleStyle>
    <p:bodyStyle>
      <a:lvl1pPr marL="230188" indent="-230188" algn="l" defTabSz="914400" rtl="0" eaLnBrk="1" latinLnBrk="0" hangingPunct="1">
        <a:spcBef>
          <a:spcPts val="0"/>
        </a:spcBef>
        <a:spcAft>
          <a:spcPts val="600"/>
        </a:spcAft>
        <a:buClr>
          <a:srgbClr val="205588"/>
        </a:buClr>
        <a:buFont typeface="Wingdings" pitchFamily="2" charset="2"/>
        <a:buChar char="§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1pPr>
      <a:lvl2pPr marL="514350" indent="-230188" algn="l" defTabSz="914400" rtl="0" eaLnBrk="1" latinLnBrk="0" hangingPunct="1">
        <a:spcBef>
          <a:spcPts val="0"/>
        </a:spcBef>
        <a:spcAft>
          <a:spcPts val="600"/>
        </a:spcAft>
        <a:buClr>
          <a:srgbClr val="205588"/>
        </a:buClr>
        <a:buFont typeface="Franklin Gothic Book" panose="020B0503020102020204" pitchFamily="34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2pPr>
      <a:lvl3pPr marL="742950" indent="-171450" algn="l" defTabSz="914400" rtl="0" eaLnBrk="1" latinLnBrk="0" hangingPunct="1">
        <a:spcBef>
          <a:spcPts val="0"/>
        </a:spcBef>
        <a:spcAft>
          <a:spcPts val="600"/>
        </a:spcAft>
        <a:buClr>
          <a:srgbClr val="205588"/>
        </a:buClr>
        <a:buFont typeface="Arial" pitchFamily="34" charset="0"/>
        <a:buChar char="•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3pPr>
      <a:lvl4pPr marL="971550" indent="-228600" algn="l" defTabSz="914400" rtl="0" eaLnBrk="1" latinLnBrk="0" hangingPunct="1">
        <a:spcBef>
          <a:spcPts val="0"/>
        </a:spcBef>
        <a:spcAft>
          <a:spcPts val="600"/>
        </a:spcAft>
        <a:buClr>
          <a:srgbClr val="205588"/>
        </a:buClr>
        <a:buFont typeface="Franklin Gothic Book" panose="020B0503020102020204" pitchFamily="34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4pPr>
      <a:lvl5pPr marL="1143000" indent="-171450" algn="l" defTabSz="914400" rtl="0" eaLnBrk="1" latinLnBrk="0" hangingPunct="1">
        <a:spcBef>
          <a:spcPts val="0"/>
        </a:spcBef>
        <a:spcAft>
          <a:spcPts val="600"/>
        </a:spcAft>
        <a:buClr>
          <a:srgbClr val="205588"/>
        </a:buClr>
        <a:buFont typeface="Arial" pitchFamily="34" charset="0"/>
        <a:buChar char="»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886148"/>
            <a:ext cx="8229600" cy="29233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69840"/>
            <a:ext cx="8229600" cy="31883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4498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</p:sldLayoutIdLst>
  <p:txStyles>
    <p:titleStyle>
      <a:lvl1pPr algn="l" defTabSz="685183" rtl="0" eaLnBrk="1" latinLnBrk="0" hangingPunct="1">
        <a:lnSpc>
          <a:spcPct val="100000"/>
        </a:lnSpc>
        <a:spcBef>
          <a:spcPct val="0"/>
        </a:spcBef>
        <a:buNone/>
        <a:defRPr sz="2198" b="1" kern="1200">
          <a:solidFill>
            <a:schemeClr val="accent1"/>
          </a:solidFill>
          <a:latin typeface="Verdana" panose="020B0604030504040204" pitchFamily="34" charset="0"/>
          <a:ea typeface="Verdana" panose="020B0604030504040204" pitchFamily="34" charset="0"/>
          <a:cs typeface="+mj-cs"/>
        </a:defRPr>
      </a:lvl1pPr>
    </p:titleStyle>
    <p:bodyStyle>
      <a:lvl1pPr marL="228394" indent="-228394" algn="l" defTabSz="685183" rtl="0" eaLnBrk="1" latinLnBrk="0" hangingPunct="1">
        <a:lnSpc>
          <a:spcPct val="150000"/>
        </a:lnSpc>
        <a:spcBef>
          <a:spcPts val="0"/>
        </a:spcBef>
        <a:spcAft>
          <a:spcPts val="999"/>
        </a:spcAft>
        <a:buClr>
          <a:schemeClr val="accent1"/>
        </a:buClr>
        <a:buSzPct val="120000"/>
        <a:buFont typeface="Arial" panose="020B0604020202020204" pitchFamily="34" charset="0"/>
        <a:buChar char="•"/>
        <a:defRPr sz="1599" kern="1200">
          <a:solidFill>
            <a:schemeClr val="tx1"/>
          </a:solidFill>
          <a:latin typeface="+mn-lt"/>
          <a:ea typeface="+mn-ea"/>
          <a:cs typeface="+mn-cs"/>
        </a:defRPr>
      </a:lvl1pPr>
      <a:lvl2pPr marL="513887" indent="-228394" algn="l" defTabSz="685183" rtl="0" eaLnBrk="1" latinLnBrk="0" hangingPunct="1">
        <a:lnSpc>
          <a:spcPct val="150000"/>
        </a:lnSpc>
        <a:spcBef>
          <a:spcPts val="0"/>
        </a:spcBef>
        <a:spcAft>
          <a:spcPts val="999"/>
        </a:spcAft>
        <a:buClr>
          <a:schemeClr val="accent1"/>
        </a:buClr>
        <a:buFont typeface="Verdana" panose="020B0604030504040204" pitchFamily="34" charset="0"/>
        <a:buChar char="-"/>
        <a:defRPr sz="1599" kern="1200">
          <a:solidFill>
            <a:schemeClr val="tx1"/>
          </a:solidFill>
          <a:latin typeface="+mn-lt"/>
          <a:ea typeface="+mn-ea"/>
          <a:cs typeface="+mn-cs"/>
        </a:defRPr>
      </a:lvl2pPr>
      <a:lvl3pPr marL="856478" indent="-228394" algn="l" defTabSz="685183" rtl="0" eaLnBrk="1" latinLnBrk="0" hangingPunct="1">
        <a:lnSpc>
          <a:spcPct val="150000"/>
        </a:lnSpc>
        <a:spcBef>
          <a:spcPts val="0"/>
        </a:spcBef>
        <a:spcAft>
          <a:spcPts val="999"/>
        </a:spcAft>
        <a:buClr>
          <a:schemeClr val="accent1"/>
        </a:buClr>
        <a:buFont typeface="Wingdings" panose="05000000000000000000" pitchFamily="2" charset="2"/>
        <a:buChar char="§"/>
        <a:defRPr sz="1599" kern="1200">
          <a:solidFill>
            <a:schemeClr val="tx1"/>
          </a:solidFill>
          <a:latin typeface="+mn-lt"/>
          <a:ea typeface="+mn-ea"/>
          <a:cs typeface="+mn-cs"/>
        </a:defRPr>
      </a:lvl3pPr>
      <a:lvl4pPr marL="1199070" indent="-228394" algn="l" defTabSz="685183" rtl="0" eaLnBrk="1" latinLnBrk="0" hangingPunct="1">
        <a:lnSpc>
          <a:spcPct val="150000"/>
        </a:lnSpc>
        <a:spcBef>
          <a:spcPts val="0"/>
        </a:spcBef>
        <a:spcAft>
          <a:spcPts val="999"/>
        </a:spcAft>
        <a:buClr>
          <a:schemeClr val="accent1"/>
        </a:buClr>
        <a:buFont typeface="Verdana" panose="020B0604030504040204" pitchFamily="34" charset="0"/>
        <a:buChar char="-"/>
        <a:defRPr sz="1599" kern="1200">
          <a:solidFill>
            <a:schemeClr val="tx1"/>
          </a:solidFill>
          <a:latin typeface="+mn-lt"/>
          <a:ea typeface="+mn-ea"/>
          <a:cs typeface="+mn-cs"/>
        </a:defRPr>
      </a:lvl4pPr>
      <a:lvl5pPr marL="1541661" indent="-228394" algn="l" defTabSz="685183" rtl="0" eaLnBrk="1" latinLnBrk="0" hangingPunct="1">
        <a:lnSpc>
          <a:spcPct val="150000"/>
        </a:lnSpc>
        <a:spcBef>
          <a:spcPts val="0"/>
        </a:spcBef>
        <a:spcAft>
          <a:spcPts val="999"/>
        </a:spcAft>
        <a:buClr>
          <a:srgbClr val="0056A9"/>
        </a:buClr>
        <a:buSzPct val="80000"/>
        <a:buFont typeface="Verdana" panose="020B0604030504040204" pitchFamily="34" charset="0"/>
        <a:buChar char="°"/>
        <a:defRPr sz="1599" kern="1200">
          <a:solidFill>
            <a:schemeClr val="tx1"/>
          </a:solidFill>
          <a:latin typeface="+mn-lt"/>
          <a:ea typeface="+mn-ea"/>
          <a:cs typeface="+mn-cs"/>
        </a:defRPr>
      </a:lvl5pPr>
      <a:lvl6pPr marL="1884253" indent="-171296" algn="l" defTabSz="6851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226844" indent="-171296" algn="l" defTabSz="6851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569435" indent="-171296" algn="l" defTabSz="6851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912027" indent="-171296" algn="l" defTabSz="6851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18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591" algn="l" defTabSz="68518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183" algn="l" defTabSz="68518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7774" algn="l" defTabSz="68518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366" algn="l" defTabSz="68518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2957" algn="l" defTabSz="68518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5548" algn="l" defTabSz="68518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8140" algn="l" defTabSz="68518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0731" algn="l" defTabSz="68518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BEB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886148"/>
            <a:ext cx="8229600" cy="292337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69840"/>
            <a:ext cx="8229600" cy="31883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4083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</p:sldLayoutIdLst>
  <p:txStyles>
    <p:titleStyle>
      <a:lvl1pPr algn="l" defTabSz="685183" rtl="0" eaLnBrk="1" latinLnBrk="0" hangingPunct="1">
        <a:lnSpc>
          <a:spcPct val="90000"/>
        </a:lnSpc>
        <a:spcBef>
          <a:spcPct val="0"/>
        </a:spcBef>
        <a:buNone/>
        <a:defRPr sz="2198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394" indent="-228394" algn="l" defTabSz="685183" rtl="0" eaLnBrk="1" latinLnBrk="0" hangingPunct="1">
        <a:lnSpc>
          <a:spcPct val="120000"/>
        </a:lnSpc>
        <a:spcBef>
          <a:spcPts val="749"/>
        </a:spcBef>
        <a:spcAft>
          <a:spcPts val="599"/>
        </a:spcAft>
        <a:buClr>
          <a:schemeClr val="accent1"/>
        </a:buClr>
        <a:buSzPct val="120000"/>
        <a:buFont typeface="Arial" panose="020B0604020202020204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1pPr>
      <a:lvl2pPr marL="513887" indent="-228394" algn="l" defTabSz="685183" rtl="0" eaLnBrk="1" latinLnBrk="0" hangingPunct="1">
        <a:lnSpc>
          <a:spcPct val="120000"/>
        </a:lnSpc>
        <a:spcBef>
          <a:spcPts val="375"/>
        </a:spcBef>
        <a:spcAft>
          <a:spcPts val="599"/>
        </a:spcAft>
        <a:buClr>
          <a:schemeClr val="accent1"/>
        </a:buClr>
        <a:buFont typeface="Verdana" panose="020B0604030504040204" pitchFamily="34" charset="0"/>
        <a:buChar char="-"/>
        <a:defRPr sz="1499" kern="1200">
          <a:solidFill>
            <a:schemeClr val="tx1"/>
          </a:solidFill>
          <a:latin typeface="+mn-lt"/>
          <a:ea typeface="+mn-ea"/>
          <a:cs typeface="+mn-cs"/>
        </a:defRPr>
      </a:lvl2pPr>
      <a:lvl3pPr marL="856478" indent="-228394" algn="l" defTabSz="685183" rtl="0" eaLnBrk="1" latinLnBrk="0" hangingPunct="1">
        <a:lnSpc>
          <a:spcPct val="120000"/>
        </a:lnSpc>
        <a:spcBef>
          <a:spcPts val="375"/>
        </a:spcBef>
        <a:spcAft>
          <a:spcPts val="599"/>
        </a:spcAft>
        <a:buClr>
          <a:schemeClr val="accent1"/>
        </a:buClr>
        <a:buFont typeface="Wingdings" panose="05000000000000000000" pitchFamily="2" charset="2"/>
        <a:buChar char="§"/>
        <a:defRPr sz="1499" kern="1200">
          <a:solidFill>
            <a:schemeClr val="tx1"/>
          </a:solidFill>
          <a:latin typeface="+mn-lt"/>
          <a:ea typeface="+mn-ea"/>
          <a:cs typeface="+mn-cs"/>
        </a:defRPr>
      </a:lvl3pPr>
      <a:lvl4pPr marL="1199070" indent="-228394" algn="l" defTabSz="685183" rtl="0" eaLnBrk="1" latinLnBrk="0" hangingPunct="1">
        <a:lnSpc>
          <a:spcPct val="120000"/>
        </a:lnSpc>
        <a:spcBef>
          <a:spcPts val="375"/>
        </a:spcBef>
        <a:spcAft>
          <a:spcPts val="599"/>
        </a:spcAft>
        <a:buClr>
          <a:schemeClr val="accent1"/>
        </a:buClr>
        <a:buFont typeface="Verdana" panose="020B0604030504040204" pitchFamily="34" charset="0"/>
        <a:buChar char="-"/>
        <a:defRPr sz="1499" kern="1200">
          <a:solidFill>
            <a:schemeClr val="tx1"/>
          </a:solidFill>
          <a:latin typeface="+mn-lt"/>
          <a:ea typeface="+mn-ea"/>
          <a:cs typeface="+mn-cs"/>
        </a:defRPr>
      </a:lvl4pPr>
      <a:lvl5pPr marL="1541661" indent="-228394" algn="l" defTabSz="685183" rtl="0" eaLnBrk="1" latinLnBrk="0" hangingPunct="1">
        <a:lnSpc>
          <a:spcPct val="120000"/>
        </a:lnSpc>
        <a:spcBef>
          <a:spcPts val="375"/>
        </a:spcBef>
        <a:spcAft>
          <a:spcPts val="599"/>
        </a:spcAft>
        <a:buClr>
          <a:srgbClr val="0056A9"/>
        </a:buClr>
        <a:buSzPct val="80000"/>
        <a:buFont typeface="Verdana" panose="020B0604030504040204" pitchFamily="34" charset="0"/>
        <a:buChar char="°"/>
        <a:defRPr sz="1499" kern="1200">
          <a:solidFill>
            <a:schemeClr val="tx1"/>
          </a:solidFill>
          <a:latin typeface="+mn-lt"/>
          <a:ea typeface="+mn-ea"/>
          <a:cs typeface="+mn-cs"/>
        </a:defRPr>
      </a:lvl5pPr>
      <a:lvl6pPr marL="1884253" indent="-171296" algn="l" defTabSz="6851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226844" indent="-171296" algn="l" defTabSz="6851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569435" indent="-171296" algn="l" defTabSz="6851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912027" indent="-171296" algn="l" defTabSz="6851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18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591" algn="l" defTabSz="68518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183" algn="l" defTabSz="68518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7774" algn="l" defTabSz="68518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366" algn="l" defTabSz="68518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2957" algn="l" defTabSz="68518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5548" algn="l" defTabSz="68518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8140" algn="l" defTabSz="68518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0731" algn="l" defTabSz="68518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keepitmovingdallas.com/US75TechLanes" TargetMode="External"/><Relationship Id="rId2" Type="http://schemas.openxmlformats.org/officeDocument/2006/relationships/hyperlink" Target="https://www.keepitmovingdallas.com/projects/us-highways/us-75" TargetMode="External"/><Relationship Id="rId1" Type="http://schemas.openxmlformats.org/officeDocument/2006/relationships/slideLayout" Target="../slideLayouts/slideLayout18.xml"/><Relationship Id="rId4" Type="http://schemas.openxmlformats.org/officeDocument/2006/relationships/hyperlink" Target="https://txdot.box.com/s/ienfe6sktzpa0z7zunm1okvibmyvbhq7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7" Type="http://schemas.openxmlformats.org/officeDocument/2006/relationships/image" Target="../media/image22.png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diagramData" Target="../diagrams/data11.xml"/><Relationship Id="rId7" Type="http://schemas.microsoft.com/office/2007/relationships/diagramDrawing" Target="../diagrams/drawing11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0.xml"/><Relationship Id="rId6" Type="http://schemas.openxmlformats.org/officeDocument/2006/relationships/diagramColors" Target="../diagrams/colors11.xml"/><Relationship Id="rId5" Type="http://schemas.openxmlformats.org/officeDocument/2006/relationships/diagramQuickStyle" Target="../diagrams/quickStyle11.xml"/><Relationship Id="rId4" Type="http://schemas.openxmlformats.org/officeDocument/2006/relationships/diagramLayout" Target="../diagrams/layout1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microsoft.com/office/2007/relationships/hdphoto" Target="../media/hdphoto1.wdp"/><Relationship Id="rId7" Type="http://schemas.openxmlformats.org/officeDocument/2006/relationships/diagramLayout" Target="../diagrams/layout1.xm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Relationship Id="rId6" Type="http://schemas.openxmlformats.org/officeDocument/2006/relationships/diagramData" Target="../diagrams/data1.xml"/><Relationship Id="rId5" Type="http://schemas.openxmlformats.org/officeDocument/2006/relationships/image" Target="../media/image19.png"/><Relationship Id="rId10" Type="http://schemas.microsoft.com/office/2007/relationships/diagramDrawing" Target="../diagrams/drawing1.xml"/><Relationship Id="rId4" Type="http://schemas.openxmlformats.org/officeDocument/2006/relationships/image" Target="../media/image18.png"/><Relationship Id="rId9" Type="http://schemas.openxmlformats.org/officeDocument/2006/relationships/diagramColors" Target="../diagrams/colors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0" Type="http://schemas.openxmlformats.org/officeDocument/2006/relationships/diagramColors" Target="../diagrams/colors3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.xml"/><Relationship Id="rId13" Type="http://schemas.openxmlformats.org/officeDocument/2006/relationships/diagramLayout" Target="../diagrams/layout7.xml"/><Relationship Id="rId3" Type="http://schemas.openxmlformats.org/officeDocument/2006/relationships/diagramLayout" Target="../diagrams/layout5.xml"/><Relationship Id="rId7" Type="http://schemas.openxmlformats.org/officeDocument/2006/relationships/diagramData" Target="../diagrams/data6.xml"/><Relationship Id="rId12" Type="http://schemas.openxmlformats.org/officeDocument/2006/relationships/diagramData" Target="../diagrams/data7.xml"/><Relationship Id="rId2" Type="http://schemas.openxmlformats.org/officeDocument/2006/relationships/diagramData" Target="../diagrams/data5.xml"/><Relationship Id="rId16" Type="http://schemas.microsoft.com/office/2007/relationships/diagramDrawing" Target="../diagrams/drawing7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5.xml"/><Relationship Id="rId11" Type="http://schemas.microsoft.com/office/2007/relationships/diagramDrawing" Target="../diagrams/drawing6.xml"/><Relationship Id="rId5" Type="http://schemas.openxmlformats.org/officeDocument/2006/relationships/diagramColors" Target="../diagrams/colors5.xml"/><Relationship Id="rId15" Type="http://schemas.openxmlformats.org/officeDocument/2006/relationships/diagramColors" Target="../diagrams/colors7.xml"/><Relationship Id="rId10" Type="http://schemas.openxmlformats.org/officeDocument/2006/relationships/diagramColors" Target="../diagrams/colors6.xml"/><Relationship Id="rId4" Type="http://schemas.openxmlformats.org/officeDocument/2006/relationships/diagramQuickStyle" Target="../diagrams/quickStyle5.xml"/><Relationship Id="rId9" Type="http://schemas.openxmlformats.org/officeDocument/2006/relationships/diagramQuickStyle" Target="../diagrams/quickStyle6.xml"/><Relationship Id="rId14" Type="http://schemas.openxmlformats.org/officeDocument/2006/relationships/diagramQuickStyle" Target="../diagrams/quickStyle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1C6052-1952-805F-A5D5-3B572C069E1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8822" y="3807611"/>
            <a:ext cx="3291840" cy="385777"/>
          </a:xfrm>
        </p:spPr>
        <p:txBody>
          <a:bodyPr/>
          <a:lstStyle/>
          <a:p>
            <a:r>
              <a:rPr lang="en-US" dirty="0"/>
              <a:t>Pre-RFP Meeting</a:t>
            </a:r>
            <a:endParaRPr lang="en-US" b="1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97FC294-5FAA-F03F-0D84-49DBEA0C6D5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1074" y="4301104"/>
            <a:ext cx="6665976" cy="228389"/>
          </a:xfrm>
        </p:spPr>
        <p:txBody>
          <a:bodyPr/>
          <a:lstStyle/>
          <a:p>
            <a:r>
              <a:rPr lang="en-US" dirty="0"/>
              <a:t>Feasibility Study for the US 75 Corridor in the Dallas District</a:t>
            </a:r>
          </a:p>
        </p:txBody>
      </p:sp>
      <p:pic>
        <p:nvPicPr>
          <p:cNvPr id="10" name="Picture Placeholder 9" descr="A group of cars driving on a highway">
            <a:extLst>
              <a:ext uri="{FF2B5EF4-FFF2-40B4-BE49-F238E27FC236}">
                <a16:creationId xmlns:a16="http://schemas.microsoft.com/office/drawing/2014/main" id="{CED47E9E-6FF9-065F-4EB1-83898A6EC19E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/>
          <a:srcRect t="18089" b="21603"/>
          <a:stretch/>
        </p:blipFill>
        <p:spPr>
          <a:xfrm>
            <a:off x="-5287" y="-9135"/>
            <a:ext cx="9154574" cy="3709030"/>
          </a:xfrm>
        </p:spPr>
      </p:pic>
      <p:sp>
        <p:nvSpPr>
          <p:cNvPr id="4" name="Subtitle 2">
            <a:extLst>
              <a:ext uri="{FF2B5EF4-FFF2-40B4-BE49-F238E27FC236}">
                <a16:creationId xmlns:a16="http://schemas.microsoft.com/office/drawing/2014/main" id="{293584BE-F006-2CD4-A566-C55BCB16A9D1}"/>
              </a:ext>
            </a:extLst>
          </p:cNvPr>
          <p:cNvSpPr txBox="1">
            <a:spLocks/>
          </p:cNvSpPr>
          <p:nvPr/>
        </p:nvSpPr>
        <p:spPr>
          <a:xfrm>
            <a:off x="431074" y="4598073"/>
            <a:ext cx="6665976" cy="22838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6851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99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None/>
              <a:defRPr sz="1599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591" indent="0" algn="ctr" defTabSz="685183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999"/>
              </a:spcAft>
              <a:buClr>
                <a:schemeClr val="accent1"/>
              </a:buClr>
              <a:buFont typeface="Verdana" panose="020B0604030504040204" pitchFamily="34" charset="0"/>
              <a:buNone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183" indent="0" algn="ctr" defTabSz="685183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999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3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7774" indent="0" algn="ctr" defTabSz="685183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999"/>
              </a:spcAft>
              <a:buClr>
                <a:schemeClr val="accent1"/>
              </a:buClr>
              <a:buFont typeface="Verdana" panose="020B0604030504040204" pitchFamily="34" charset="0"/>
              <a:buNone/>
              <a:defRPr sz="11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0366" indent="0" algn="ctr" defTabSz="685183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999"/>
              </a:spcAft>
              <a:buClr>
                <a:srgbClr val="0056A9"/>
              </a:buClr>
              <a:buSzPct val="80000"/>
              <a:buFont typeface="Verdana" panose="020B0604030504040204" pitchFamily="34" charset="0"/>
              <a:buNone/>
              <a:defRPr sz="11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2957" indent="0" algn="ctr" defTabSz="6851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1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5548" indent="0" algn="ctr" defTabSz="6851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1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8140" indent="0" algn="ctr" defTabSz="6851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1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0731" indent="0" algn="ctr" defTabSz="6851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1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olicitation No: 601CT0000006533</a:t>
            </a:r>
          </a:p>
        </p:txBody>
      </p:sp>
    </p:spTree>
    <p:extLst>
      <p:ext uri="{BB962C8B-B14F-4D97-AF65-F5344CB8AC3E}">
        <p14:creationId xmlns:p14="http://schemas.microsoft.com/office/powerpoint/2010/main" val="9790581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96519F99-47B3-9922-7CB9-FFD6A5E95954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303657" y="618376"/>
            <a:ext cx="8365071" cy="393547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 defTabSz="68518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198" b="1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pPr marL="0" marR="0" lvl="0" indent="0" algn="l" defTabSz="6851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RFP Reminders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F0D565E0-0685-BD88-D1ED-CD7596947F0C}"/>
              </a:ext>
            </a:extLst>
          </p:cNvPr>
          <p:cNvSpPr txBox="1">
            <a:spLocks/>
          </p:cNvSpPr>
          <p:nvPr/>
        </p:nvSpPr>
        <p:spPr>
          <a:xfrm>
            <a:off x="8932649" y="5106270"/>
            <a:ext cx="211351" cy="13755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0</a:t>
            </a:fld>
            <a:endParaRPr lang="en-US" dirty="0"/>
          </a:p>
        </p:txBody>
      </p:sp>
      <p:graphicFrame>
        <p:nvGraphicFramePr>
          <p:cNvPr id="16" name="Diagram 15">
            <a:extLst>
              <a:ext uri="{FF2B5EF4-FFF2-40B4-BE49-F238E27FC236}">
                <a16:creationId xmlns:a16="http://schemas.microsoft.com/office/drawing/2014/main" id="{38154C96-F6DA-FDB9-6C26-8CFC8E3F44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43029278"/>
              </p:ext>
            </p:extLst>
          </p:nvPr>
        </p:nvGraphicFramePr>
        <p:xfrm>
          <a:off x="1909354" y="909245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0274750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DF0D78A-0728-977D-E95B-BEE128F9769C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299812" y="624819"/>
            <a:ext cx="8353424" cy="402336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 defTabSz="68518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198" b="1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pPr marL="0" marR="0" lvl="0" indent="0" algn="l" defTabSz="6851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Potential Work Categories &amp; NLCs</a:t>
            </a: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C13FC6FD-C9AA-8319-5E4E-AD5F7809E11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0208463"/>
              </p:ext>
            </p:extLst>
          </p:nvPr>
        </p:nvGraphicFramePr>
        <p:xfrm>
          <a:off x="490764" y="1137378"/>
          <a:ext cx="4081236" cy="3628264"/>
        </p:xfrm>
        <a:graphic>
          <a:graphicData uri="http://schemas.openxmlformats.org/drawingml/2006/table">
            <a:tbl>
              <a:tblPr first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501409">
                  <a:extLst>
                    <a:ext uri="{9D8B030D-6E8A-4147-A177-3AD203B41FA5}">
                      <a16:colId xmlns:a16="http://schemas.microsoft.com/office/drawing/2014/main" val="1832692"/>
                    </a:ext>
                  </a:extLst>
                </a:gridCol>
                <a:gridCol w="3579827">
                  <a:extLst>
                    <a:ext uri="{9D8B030D-6E8A-4147-A177-3AD203B41FA5}">
                      <a16:colId xmlns:a16="http://schemas.microsoft.com/office/drawing/2014/main" val="2101247413"/>
                    </a:ext>
                  </a:extLst>
                </a:gridCol>
              </a:tblGrid>
              <a:tr h="502282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600" u="none" strike="noStrike">
                          <a:effectLst/>
                        </a:rPr>
                        <a:t>Cat. No.</a:t>
                      </a:r>
                      <a:endParaRPr lang="en-US" sz="600" b="1" i="0" u="none" strike="noStrike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600" u="none" strike="noStrike" dirty="0">
                          <a:effectLst/>
                        </a:rPr>
                        <a:t>Category Name</a:t>
                      </a:r>
                      <a:endParaRPr lang="en-US" sz="600" b="1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extLst>
                  <a:ext uri="{0D108BD9-81ED-4DB2-BD59-A6C34878D82A}">
                    <a16:rowId xmlns:a16="http://schemas.microsoft.com/office/drawing/2014/main" val="2278025663"/>
                  </a:ext>
                </a:extLst>
              </a:tr>
              <a:tr h="124094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600" u="none" strike="noStrike">
                          <a:effectLst/>
                        </a:rPr>
                        <a:t>1.1.1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600" u="none" strike="noStrike">
                          <a:effectLst/>
                        </a:rPr>
                        <a:t>Policy Planning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extLst>
                  <a:ext uri="{0D108BD9-81ED-4DB2-BD59-A6C34878D82A}">
                    <a16:rowId xmlns:a16="http://schemas.microsoft.com/office/drawing/2014/main" val="2449523493"/>
                  </a:ext>
                </a:extLst>
              </a:tr>
              <a:tr h="124094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600" u="none" strike="noStrike">
                          <a:effectLst/>
                        </a:rPr>
                        <a:t>1.2.1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600" u="none" strike="noStrike">
                          <a:effectLst/>
                        </a:rPr>
                        <a:t>Systems Planning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extLst>
                  <a:ext uri="{0D108BD9-81ED-4DB2-BD59-A6C34878D82A}">
                    <a16:rowId xmlns:a16="http://schemas.microsoft.com/office/drawing/2014/main" val="3496737353"/>
                  </a:ext>
                </a:extLst>
              </a:tr>
              <a:tr h="124094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600" u="none" strike="noStrike">
                          <a:effectLst/>
                        </a:rPr>
                        <a:t>1.3.1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600" u="none" strike="noStrike">
                          <a:effectLst/>
                        </a:rPr>
                        <a:t>Subarea/Corridor Planning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extLst>
                  <a:ext uri="{0D108BD9-81ED-4DB2-BD59-A6C34878D82A}">
                    <a16:rowId xmlns:a16="http://schemas.microsoft.com/office/drawing/2014/main" val="587495508"/>
                  </a:ext>
                </a:extLst>
              </a:tr>
              <a:tr h="124094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600" u="none" strike="noStrike">
                          <a:effectLst/>
                        </a:rPr>
                        <a:t>1.4.1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600" u="none" strike="noStrike">
                          <a:effectLst/>
                        </a:rPr>
                        <a:t>Land Planning/Engineering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extLst>
                  <a:ext uri="{0D108BD9-81ED-4DB2-BD59-A6C34878D82A}">
                    <a16:rowId xmlns:a16="http://schemas.microsoft.com/office/drawing/2014/main" val="1856111523"/>
                  </a:ext>
                </a:extLst>
              </a:tr>
              <a:tr h="124094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600" u="none" strike="noStrike">
                          <a:effectLst/>
                        </a:rPr>
                        <a:t>1.5.1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600" u="none" strike="noStrike">
                          <a:effectLst/>
                        </a:rPr>
                        <a:t>Feasibility Studies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extLst>
                  <a:ext uri="{0D108BD9-81ED-4DB2-BD59-A6C34878D82A}">
                    <a16:rowId xmlns:a16="http://schemas.microsoft.com/office/drawing/2014/main" val="489253340"/>
                  </a:ext>
                </a:extLst>
              </a:tr>
              <a:tr h="124094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600" u="none" strike="noStrike">
                          <a:effectLst/>
                        </a:rPr>
                        <a:t>1.7.1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600" u="none" strike="noStrike" dirty="0">
                          <a:effectLst/>
                        </a:rPr>
                        <a:t>Traffic Demand Modeling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extLst>
                  <a:ext uri="{0D108BD9-81ED-4DB2-BD59-A6C34878D82A}">
                    <a16:rowId xmlns:a16="http://schemas.microsoft.com/office/drawing/2014/main" val="3319381294"/>
                  </a:ext>
                </a:extLst>
              </a:tr>
              <a:tr h="124094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600" u="none" strike="noStrike">
                          <a:effectLst/>
                        </a:rPr>
                        <a:t>1.8.1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600" u="none" strike="noStrike">
                          <a:effectLst/>
                        </a:rPr>
                        <a:t>Public Involvement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extLst>
                  <a:ext uri="{0D108BD9-81ED-4DB2-BD59-A6C34878D82A}">
                    <a16:rowId xmlns:a16="http://schemas.microsoft.com/office/drawing/2014/main" val="2957433396"/>
                  </a:ext>
                </a:extLst>
              </a:tr>
              <a:tr h="130002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600" u="none" strike="noStrike">
                          <a:effectLst/>
                        </a:rPr>
                        <a:t>1.9.1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600" u="none" strike="noStrike">
                          <a:effectLst/>
                        </a:rPr>
                        <a:t>Geographic Information System (GIS) and Data Analysis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extLst>
                  <a:ext uri="{0D108BD9-81ED-4DB2-BD59-A6C34878D82A}">
                    <a16:rowId xmlns:a16="http://schemas.microsoft.com/office/drawing/2014/main" val="496230699"/>
                  </a:ext>
                </a:extLst>
              </a:tr>
              <a:tr h="124094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600" u="none" strike="noStrike">
                          <a:effectLst/>
                        </a:rPr>
                        <a:t>2.1.1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600" u="none" strike="noStrike">
                          <a:effectLst/>
                        </a:rPr>
                        <a:t>Traffic Noise Analysis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extLst>
                  <a:ext uri="{0D108BD9-81ED-4DB2-BD59-A6C34878D82A}">
                    <a16:rowId xmlns:a16="http://schemas.microsoft.com/office/drawing/2014/main" val="2093327649"/>
                  </a:ext>
                </a:extLst>
              </a:tr>
              <a:tr h="124094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600" u="none" strike="noStrike">
                          <a:effectLst/>
                        </a:rPr>
                        <a:t>2.2.1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600" u="none" strike="noStrike">
                          <a:effectLst/>
                        </a:rPr>
                        <a:t>Air Quality Analysis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extLst>
                  <a:ext uri="{0D108BD9-81ED-4DB2-BD59-A6C34878D82A}">
                    <a16:rowId xmlns:a16="http://schemas.microsoft.com/office/drawing/2014/main" val="2214723234"/>
                  </a:ext>
                </a:extLst>
              </a:tr>
              <a:tr h="124094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600" u="none" strike="noStrike">
                          <a:effectLst/>
                        </a:rPr>
                        <a:t>2.3.1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600" u="none" strike="noStrike" dirty="0">
                          <a:effectLst/>
                        </a:rPr>
                        <a:t>Wetland Delineation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extLst>
                  <a:ext uri="{0D108BD9-81ED-4DB2-BD59-A6C34878D82A}">
                    <a16:rowId xmlns:a16="http://schemas.microsoft.com/office/drawing/2014/main" val="2385077120"/>
                  </a:ext>
                </a:extLst>
              </a:tr>
              <a:tr h="124094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600" u="none" strike="noStrike">
                          <a:effectLst/>
                        </a:rPr>
                        <a:t>2.3.2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600" u="none" strike="noStrike">
                          <a:effectLst/>
                        </a:rPr>
                        <a:t>Conditional/Functional Assessment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extLst>
                  <a:ext uri="{0D108BD9-81ED-4DB2-BD59-A6C34878D82A}">
                    <a16:rowId xmlns:a16="http://schemas.microsoft.com/office/drawing/2014/main" val="1856955255"/>
                  </a:ext>
                </a:extLst>
              </a:tr>
              <a:tr h="124094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600" u="none" strike="noStrike">
                          <a:effectLst/>
                        </a:rPr>
                        <a:t>2.7.1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600" u="none" strike="noStrike">
                          <a:effectLst/>
                        </a:rPr>
                        <a:t>Sec. 4(F)/6(F) Evaluations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extLst>
                  <a:ext uri="{0D108BD9-81ED-4DB2-BD59-A6C34878D82A}">
                    <a16:rowId xmlns:a16="http://schemas.microsoft.com/office/drawing/2014/main" val="334892063"/>
                  </a:ext>
                </a:extLst>
              </a:tr>
              <a:tr h="124094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600" u="none" strike="noStrike">
                          <a:effectLst/>
                        </a:rPr>
                        <a:t>2.7.2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600" u="none" strike="noStrike">
                          <a:effectLst/>
                        </a:rPr>
                        <a:t>Historic Sites Sec. 4(f) Evaluations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extLst>
                  <a:ext uri="{0D108BD9-81ED-4DB2-BD59-A6C34878D82A}">
                    <a16:rowId xmlns:a16="http://schemas.microsoft.com/office/drawing/2014/main" val="766660318"/>
                  </a:ext>
                </a:extLst>
              </a:tr>
              <a:tr h="124094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600" u="none" strike="noStrike">
                          <a:effectLst/>
                        </a:rPr>
                        <a:t>2.10.1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600" u="none" strike="noStrike">
                          <a:effectLst/>
                        </a:rPr>
                        <a:t>Archaeological Surveys, Doc., Excavation, Testing Rpts 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extLst>
                  <a:ext uri="{0D108BD9-81ED-4DB2-BD59-A6C34878D82A}">
                    <a16:rowId xmlns:a16="http://schemas.microsoft.com/office/drawing/2014/main" val="1283992155"/>
                  </a:ext>
                </a:extLst>
              </a:tr>
              <a:tr h="124094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600" u="none" strike="noStrike">
                          <a:effectLst/>
                        </a:rPr>
                        <a:t>2.12.1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600" u="none" strike="noStrike">
                          <a:effectLst/>
                        </a:rPr>
                        <a:t>Socio-Economic &amp; Environmental Justice Analysis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extLst>
                  <a:ext uri="{0D108BD9-81ED-4DB2-BD59-A6C34878D82A}">
                    <a16:rowId xmlns:a16="http://schemas.microsoft.com/office/drawing/2014/main" val="3221755969"/>
                  </a:ext>
                </a:extLst>
              </a:tr>
              <a:tr h="124094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600" u="none" strike="noStrike">
                          <a:effectLst/>
                        </a:rPr>
                        <a:t>2.13.1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600" u="none" strike="noStrike">
                          <a:effectLst/>
                        </a:rPr>
                        <a:t>Hazardous Materials Initial Site Assessment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extLst>
                  <a:ext uri="{0D108BD9-81ED-4DB2-BD59-A6C34878D82A}">
                    <a16:rowId xmlns:a16="http://schemas.microsoft.com/office/drawing/2014/main" val="2679101229"/>
                  </a:ext>
                </a:extLst>
              </a:tr>
              <a:tr h="124094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600" u="none" strike="noStrike">
                          <a:effectLst/>
                        </a:rPr>
                        <a:t>2.15.1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600" u="none" strike="noStrike">
                          <a:effectLst/>
                        </a:rPr>
                        <a:t>Historical Research of Extant Bldgs, Struct, Landsc., &amp; Obj.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extLst>
                  <a:ext uri="{0D108BD9-81ED-4DB2-BD59-A6C34878D82A}">
                    <a16:rowId xmlns:a16="http://schemas.microsoft.com/office/drawing/2014/main" val="2096664930"/>
                  </a:ext>
                </a:extLst>
              </a:tr>
              <a:tr h="130002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600" u="none" strike="noStrike">
                          <a:effectLst/>
                        </a:rPr>
                        <a:t>2.15.2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600" u="none" strike="noStrike">
                          <a:effectLst/>
                        </a:rPr>
                        <a:t>Historical Surveys &amp; Doc. of Bldgs, Struct, Landsc., &amp; Obj.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extLst>
                  <a:ext uri="{0D108BD9-81ED-4DB2-BD59-A6C34878D82A}">
                    <a16:rowId xmlns:a16="http://schemas.microsoft.com/office/drawing/2014/main" val="1788834652"/>
                  </a:ext>
                </a:extLst>
              </a:tr>
              <a:tr h="124094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600" u="none" strike="noStrike">
                          <a:effectLst/>
                        </a:rPr>
                        <a:t>3.2.1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600" u="none" strike="noStrike">
                          <a:effectLst/>
                        </a:rPr>
                        <a:t>Route Studies &amp; Schematic Design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extLst>
                  <a:ext uri="{0D108BD9-81ED-4DB2-BD59-A6C34878D82A}">
                    <a16:rowId xmlns:a16="http://schemas.microsoft.com/office/drawing/2014/main" val="64185360"/>
                  </a:ext>
                </a:extLst>
              </a:tr>
              <a:tr h="130002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600" u="none" strike="noStrike">
                          <a:effectLst/>
                        </a:rPr>
                        <a:t>3.7.1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600" u="none" strike="noStrike">
                          <a:effectLst/>
                        </a:rPr>
                        <a:t>Traffic Operational Analysis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extLst>
                  <a:ext uri="{0D108BD9-81ED-4DB2-BD59-A6C34878D82A}">
                    <a16:rowId xmlns:a16="http://schemas.microsoft.com/office/drawing/2014/main" val="365699619"/>
                  </a:ext>
                </a:extLst>
              </a:tr>
              <a:tr h="124094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600" u="none" strike="noStrike">
                          <a:effectLst/>
                        </a:rPr>
                        <a:t>4.4.1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600" u="none" strike="noStrike">
                          <a:effectLst/>
                        </a:rPr>
                        <a:t>Freeway Interchanges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extLst>
                  <a:ext uri="{0D108BD9-81ED-4DB2-BD59-A6C34878D82A}">
                    <a16:rowId xmlns:a16="http://schemas.microsoft.com/office/drawing/2014/main" val="4175395824"/>
                  </a:ext>
                </a:extLst>
              </a:tr>
              <a:tr h="124094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600" u="none" strike="noStrike">
                          <a:effectLst/>
                        </a:rPr>
                        <a:t>4.5.1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600" u="none" strike="noStrike">
                          <a:effectLst/>
                        </a:rPr>
                        <a:t>Constructability Review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extLst>
                  <a:ext uri="{0D108BD9-81ED-4DB2-BD59-A6C34878D82A}">
                    <a16:rowId xmlns:a16="http://schemas.microsoft.com/office/drawing/2014/main" val="4060534138"/>
                  </a:ext>
                </a:extLst>
              </a:tr>
              <a:tr h="124094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600" u="none" strike="noStrike">
                          <a:effectLst/>
                        </a:rPr>
                        <a:t>4.6.1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600" u="none" strike="noStrike">
                          <a:effectLst/>
                        </a:rPr>
                        <a:t>3-D Visualization and Animation Services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extLst>
                  <a:ext uri="{0D108BD9-81ED-4DB2-BD59-A6C34878D82A}">
                    <a16:rowId xmlns:a16="http://schemas.microsoft.com/office/drawing/2014/main" val="1354955984"/>
                  </a:ext>
                </a:extLst>
              </a:tr>
              <a:tr h="130002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600" u="none" strike="noStrike">
                          <a:effectLst/>
                        </a:rPr>
                        <a:t>4.7.1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600" u="none" strike="noStrike" dirty="0">
                          <a:effectLst/>
                        </a:rPr>
                        <a:t>Traffic Safety Analysis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5192" marR="5192" marT="5192" marB="0" anchor="ctr"/>
                </a:tc>
                <a:extLst>
                  <a:ext uri="{0D108BD9-81ED-4DB2-BD59-A6C34878D82A}">
                    <a16:rowId xmlns:a16="http://schemas.microsoft.com/office/drawing/2014/main" val="2145633027"/>
                  </a:ext>
                </a:extLst>
              </a:tr>
            </a:tbl>
          </a:graphicData>
        </a:graphic>
      </p:graphicFrame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CBB600A3-6D9E-15F2-3B19-26F003FC86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95046112"/>
              </p:ext>
            </p:extLst>
          </p:nvPr>
        </p:nvGraphicFramePr>
        <p:xfrm>
          <a:off x="4972374" y="1349820"/>
          <a:ext cx="4081236" cy="19354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Rectangle 3">
            <a:extLst>
              <a:ext uri="{FF2B5EF4-FFF2-40B4-BE49-F238E27FC236}">
                <a16:creationId xmlns:a16="http://schemas.microsoft.com/office/drawing/2014/main" id="{29169C75-86CA-C697-1DED-A66A10D550E1}"/>
              </a:ext>
            </a:extLst>
          </p:cNvPr>
          <p:cNvSpPr txBox="1"/>
          <p:nvPr/>
        </p:nvSpPr>
        <p:spPr bwMode="gray">
          <a:xfrm>
            <a:off x="3064625" y="4875866"/>
            <a:ext cx="3319545" cy="207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spcBef>
                <a:spcPct val="60000"/>
              </a:spcBef>
            </a:pPr>
            <a:r>
              <a:rPr lang="en-US" sz="1350" b="1" dirty="0">
                <a:solidFill>
                  <a:schemeClr val="accent4">
                    <a:lumMod val="75000"/>
                  </a:schemeClr>
                </a:solidFill>
              </a:rPr>
              <a:t>Information is subject to change.</a:t>
            </a:r>
          </a:p>
        </p:txBody>
      </p:sp>
    </p:spTree>
    <p:extLst>
      <p:ext uri="{BB962C8B-B14F-4D97-AF65-F5344CB8AC3E}">
        <p14:creationId xmlns:p14="http://schemas.microsoft.com/office/powerpoint/2010/main" val="7659011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F6D936-59F3-7AFB-28FB-2E5647604F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Project Loc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6063E2D-A00E-75F3-D7C9-C0469FBBB9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1006" y="1912254"/>
            <a:ext cx="2538376" cy="811871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US 75 from IH 635 to SH 121 (SRT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874817B-A8D3-E60F-BE26-E9D79E19CA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55214" y="616465"/>
            <a:ext cx="2978811" cy="4462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8711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B4C88B-F8AB-4DBF-B568-C7B771AC25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5D2BBC-74A5-DA1F-9ECA-67B7D899B2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4394" y="719285"/>
            <a:ext cx="6024728" cy="294612"/>
          </a:xfrm>
        </p:spPr>
        <p:txBody>
          <a:bodyPr>
            <a:normAutofit fontScale="90000"/>
          </a:bodyPr>
          <a:lstStyle/>
          <a:p>
            <a:r>
              <a:rPr lang="en-US" dirty="0"/>
              <a:t>Purpose of Study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800AA48-7592-ABA1-DC23-4FF63D22C7FB}"/>
              </a:ext>
            </a:extLst>
          </p:cNvPr>
          <p:cNvSpPr txBox="1"/>
          <p:nvPr/>
        </p:nvSpPr>
        <p:spPr>
          <a:xfrm>
            <a:off x="224395" y="939655"/>
            <a:ext cx="7138773" cy="30449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84873" lvl="2" indent="-171296" defTabSz="456789">
              <a:buFont typeface="Arial" panose="020B0604020202020204" pitchFamily="34" charset="0"/>
              <a:buChar char="•"/>
            </a:pPr>
            <a:endParaRPr lang="en-US" sz="1199" dirty="0">
              <a:solidFill>
                <a:srgbClr val="000000"/>
              </a:solidFill>
              <a:latin typeface="Verdana"/>
            </a:endParaRPr>
          </a:p>
          <a:p>
            <a:pPr marL="456789" lvl="1" defTabSz="456789"/>
            <a:endParaRPr lang="en-US" sz="1199" dirty="0">
              <a:solidFill>
                <a:srgbClr val="000000"/>
              </a:solidFill>
              <a:latin typeface="Verdana"/>
            </a:endParaRPr>
          </a:p>
          <a:p>
            <a:pPr marL="628084" lvl="1" indent="-171296" defTabSz="456789">
              <a:buFont typeface="Arial" panose="020B0604020202020204" pitchFamily="34" charset="0"/>
              <a:buChar char="•"/>
            </a:pPr>
            <a:r>
              <a:rPr lang="en-US" sz="1199" dirty="0">
                <a:solidFill>
                  <a:srgbClr val="000000"/>
                </a:solidFill>
                <a:latin typeface="Verdana"/>
              </a:rPr>
              <a:t>Purpose: </a:t>
            </a:r>
          </a:p>
          <a:p>
            <a:pPr marL="1084873" lvl="2" indent="-171296" defTabSz="456789">
              <a:buFont typeface="Arial" panose="020B0604020202020204" pitchFamily="34" charset="0"/>
              <a:buChar char="•"/>
            </a:pPr>
            <a:r>
              <a:rPr lang="en-US" sz="1199" dirty="0">
                <a:solidFill>
                  <a:srgbClr val="000000"/>
                </a:solidFill>
                <a:latin typeface="Verdana"/>
              </a:rPr>
              <a:t>Study US 75 from IH 635 to SH 121(SRT) to evaluate multiple options that add capacity to the </a:t>
            </a:r>
            <a:r>
              <a:rPr lang="en-US" sz="1199" dirty="0" err="1">
                <a:solidFill>
                  <a:srgbClr val="000000"/>
                </a:solidFill>
                <a:latin typeface="Verdana"/>
              </a:rPr>
              <a:t>mainlanes</a:t>
            </a:r>
            <a:r>
              <a:rPr lang="en-US" sz="1199" dirty="0">
                <a:solidFill>
                  <a:srgbClr val="000000"/>
                </a:solidFill>
                <a:latin typeface="Verdana"/>
              </a:rPr>
              <a:t> of US 75 and improve operations throughout the corridor.</a:t>
            </a:r>
          </a:p>
          <a:p>
            <a:pPr marL="1084873" lvl="2" indent="-171296" defTabSz="456789">
              <a:buFont typeface="Arial" panose="020B0604020202020204" pitchFamily="34" charset="0"/>
              <a:buChar char="•"/>
            </a:pPr>
            <a:r>
              <a:rPr lang="en-US" sz="1199" dirty="0">
                <a:solidFill>
                  <a:srgbClr val="000000"/>
                </a:solidFill>
                <a:latin typeface="Verdana"/>
              </a:rPr>
              <a:t>The District is looking for creativity and innovation to improve the mobility and operation</a:t>
            </a:r>
          </a:p>
          <a:p>
            <a:pPr marL="1084873" lvl="2" indent="-171296" defTabSz="456789">
              <a:buFont typeface="Arial" panose="020B0604020202020204" pitchFamily="34" charset="0"/>
              <a:buChar char="•"/>
            </a:pPr>
            <a:r>
              <a:rPr lang="en-US" sz="1199" dirty="0">
                <a:solidFill>
                  <a:srgbClr val="000000"/>
                </a:solidFill>
                <a:latin typeface="Verdana"/>
              </a:rPr>
              <a:t>All options are on the table</a:t>
            </a:r>
          </a:p>
          <a:p>
            <a:pPr marL="1084873" lvl="2" indent="-171296" defTabSz="456789">
              <a:buFont typeface="Arial" panose="020B0604020202020204" pitchFamily="34" charset="0"/>
              <a:buChar char="•"/>
            </a:pPr>
            <a:r>
              <a:rPr lang="en-US" sz="1199" dirty="0">
                <a:solidFill>
                  <a:srgbClr val="000000"/>
                </a:solidFill>
                <a:latin typeface="Verdana"/>
              </a:rPr>
              <a:t>How can we leverage technology and new design practices to enhance the corridor</a:t>
            </a:r>
          </a:p>
          <a:p>
            <a:pPr marL="1084873" lvl="2" indent="-171296" defTabSz="456789">
              <a:buFont typeface="Arial" panose="020B0604020202020204" pitchFamily="34" charset="0"/>
              <a:buChar char="•"/>
            </a:pPr>
            <a:r>
              <a:rPr lang="en-US" sz="1199" dirty="0">
                <a:solidFill>
                  <a:srgbClr val="000000"/>
                </a:solidFill>
                <a:latin typeface="Verdana"/>
              </a:rPr>
              <a:t>In the interviews the District wants to see what firms can develop that hasn’t been presented before</a:t>
            </a:r>
          </a:p>
          <a:p>
            <a:pPr marL="1084873" lvl="2" indent="-171296" defTabSz="456789">
              <a:buFont typeface="Arial" panose="020B0604020202020204" pitchFamily="34" charset="0"/>
              <a:buChar char="•"/>
            </a:pPr>
            <a:r>
              <a:rPr lang="en-US" sz="1199" dirty="0">
                <a:solidFill>
                  <a:srgbClr val="000000"/>
                </a:solidFill>
              </a:rPr>
              <a:t>Maximum Contract Value Not To Exceed $15M</a:t>
            </a:r>
          </a:p>
          <a:p>
            <a:pPr marL="1084873" lvl="2" indent="-171296" defTabSz="456789">
              <a:buFont typeface="Arial" panose="020B0604020202020204" pitchFamily="34" charset="0"/>
              <a:buChar char="•"/>
            </a:pPr>
            <a:endParaRPr lang="en-US" sz="1199" dirty="0">
              <a:solidFill>
                <a:srgbClr val="000000"/>
              </a:solidFill>
              <a:latin typeface="Verdana"/>
            </a:endParaRPr>
          </a:p>
          <a:p>
            <a:pPr marL="628084" lvl="1" indent="-171296" defTabSz="456789">
              <a:buFont typeface="Arial" panose="020B0604020202020204" pitchFamily="34" charset="0"/>
              <a:buChar char="•"/>
            </a:pPr>
            <a:endParaRPr lang="en-US" sz="1199" dirty="0">
              <a:solidFill>
                <a:srgbClr val="000000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18253629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B16912-976A-8708-FBB2-833FD08E49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0BB086-E00F-7E2A-993E-B39A911158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4394" y="719285"/>
            <a:ext cx="6024728" cy="294612"/>
          </a:xfrm>
        </p:spPr>
        <p:txBody>
          <a:bodyPr>
            <a:normAutofit fontScale="90000"/>
          </a:bodyPr>
          <a:lstStyle/>
          <a:p>
            <a:r>
              <a:rPr lang="en-US" dirty="0"/>
              <a:t>Existing Constraint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27576F7-8428-C94F-093F-ED2B2948E982}"/>
              </a:ext>
            </a:extLst>
          </p:cNvPr>
          <p:cNvSpPr txBox="1"/>
          <p:nvPr/>
        </p:nvSpPr>
        <p:spPr>
          <a:xfrm>
            <a:off x="224395" y="1239824"/>
            <a:ext cx="7138773" cy="21216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913577" lvl="2" defTabSz="456789"/>
            <a:endParaRPr lang="en-US" sz="1199" dirty="0">
              <a:solidFill>
                <a:srgbClr val="000000"/>
              </a:solidFill>
              <a:latin typeface="Verdana"/>
            </a:endParaRPr>
          </a:p>
          <a:p>
            <a:pPr marL="1084873" lvl="2" indent="-171296" defTabSz="456789">
              <a:buFont typeface="Arial" panose="020B0604020202020204" pitchFamily="34" charset="0"/>
              <a:buChar char="•"/>
            </a:pPr>
            <a:r>
              <a:rPr lang="en-US" sz="1199" dirty="0">
                <a:solidFill>
                  <a:srgbClr val="000000"/>
                </a:solidFill>
                <a:latin typeface="Verdana"/>
              </a:rPr>
              <a:t>Congested corridor currently, heavily traveled</a:t>
            </a:r>
          </a:p>
          <a:p>
            <a:pPr marL="1084873" lvl="2" indent="-171296" defTabSz="456789">
              <a:buFont typeface="Arial" panose="020B0604020202020204" pitchFamily="34" charset="0"/>
              <a:buChar char="•"/>
            </a:pPr>
            <a:r>
              <a:rPr lang="en-US" sz="1199" dirty="0">
                <a:solidFill>
                  <a:srgbClr val="000000"/>
                </a:solidFill>
                <a:latin typeface="Verdana"/>
              </a:rPr>
              <a:t>Minimize ROW acquisition and adverse impact on the adjacent properties and businesses while achieving other goals; Corridor is heavily developed</a:t>
            </a:r>
          </a:p>
          <a:p>
            <a:pPr marL="1084873" lvl="2" indent="-171296" defTabSz="456789">
              <a:buFont typeface="Arial" panose="020B0604020202020204" pitchFamily="34" charset="0"/>
              <a:buChar char="•"/>
            </a:pPr>
            <a:r>
              <a:rPr lang="en-US" sz="1199" dirty="0">
                <a:solidFill>
                  <a:srgbClr val="000000"/>
                </a:solidFill>
                <a:latin typeface="Verdana"/>
              </a:rPr>
              <a:t>Maintain and expand on the newly implemented technology lanes on US 75</a:t>
            </a:r>
          </a:p>
          <a:p>
            <a:pPr marL="1084873" lvl="2" indent="-171296" defTabSz="456789">
              <a:buFont typeface="Arial" panose="020B0604020202020204" pitchFamily="34" charset="0"/>
              <a:buChar char="•"/>
            </a:pPr>
            <a:r>
              <a:rPr lang="en-US" sz="1199" dirty="0">
                <a:solidFill>
                  <a:srgbClr val="000000"/>
                </a:solidFill>
                <a:latin typeface="Verdana"/>
              </a:rPr>
              <a:t>Evaluate current and future traffic growth to update traffic projections</a:t>
            </a:r>
          </a:p>
          <a:p>
            <a:pPr marL="1084873" lvl="2" indent="-171296" defTabSz="456789">
              <a:buFont typeface="Arial" panose="020B0604020202020204" pitchFamily="34" charset="0"/>
              <a:buChar char="•"/>
            </a:pPr>
            <a:r>
              <a:rPr lang="en-US" sz="1199" dirty="0">
                <a:solidFill>
                  <a:srgbClr val="000000"/>
                </a:solidFill>
                <a:latin typeface="Verdana"/>
              </a:rPr>
              <a:t>Maintain and enhance the connectivity with existing major interchanges at IH 635, PGBT and SH 121(SRT)</a:t>
            </a:r>
          </a:p>
          <a:p>
            <a:pPr marL="1084873" lvl="2" indent="-171296" defTabSz="456789">
              <a:buFont typeface="Arial" panose="020B0604020202020204" pitchFamily="34" charset="0"/>
              <a:buChar char="•"/>
            </a:pPr>
            <a:r>
              <a:rPr lang="en-US" sz="1199" dirty="0">
                <a:solidFill>
                  <a:srgbClr val="000000"/>
                </a:solidFill>
                <a:latin typeface="Verdana"/>
              </a:rPr>
              <a:t>Stakeholder coordination needed to gain consensus with counties, cities and other major partners along the US 75 corridor</a:t>
            </a:r>
          </a:p>
          <a:p>
            <a:pPr marL="628084" lvl="1" indent="-171296" defTabSz="456789">
              <a:buFont typeface="Arial" panose="020B0604020202020204" pitchFamily="34" charset="0"/>
              <a:buChar char="•"/>
            </a:pPr>
            <a:endParaRPr lang="en-US" sz="1199" dirty="0">
              <a:solidFill>
                <a:srgbClr val="000000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40161654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3BCFEE-5A12-7C3E-FE84-A087F096B1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4678A0-CAC5-F811-EA16-59CED1E54D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4394" y="719285"/>
            <a:ext cx="6024728" cy="294612"/>
          </a:xfrm>
        </p:spPr>
        <p:txBody>
          <a:bodyPr>
            <a:normAutofit fontScale="90000"/>
          </a:bodyPr>
          <a:lstStyle/>
          <a:p>
            <a:r>
              <a:rPr lang="en-US" dirty="0"/>
              <a:t>More Informat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3085550-B3F9-01A9-64AA-3526CF90E281}"/>
              </a:ext>
            </a:extLst>
          </p:cNvPr>
          <p:cNvSpPr txBox="1"/>
          <p:nvPr/>
        </p:nvSpPr>
        <p:spPr>
          <a:xfrm>
            <a:off x="297871" y="953803"/>
            <a:ext cx="8169782" cy="41063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84873" lvl="2" indent="-171296" defTabSz="456789">
              <a:buFont typeface="Arial" panose="020B0604020202020204" pitchFamily="34" charset="0"/>
              <a:buChar char="•"/>
            </a:pPr>
            <a:endParaRPr lang="en-US" sz="1199" dirty="0">
              <a:solidFill>
                <a:srgbClr val="000000"/>
              </a:solidFill>
              <a:latin typeface="Verdana"/>
            </a:endParaRPr>
          </a:p>
          <a:p>
            <a:pPr marL="628084" lvl="1" indent="-171296" defTabSz="456789">
              <a:buFont typeface="Arial" panose="020B0604020202020204" pitchFamily="34" charset="0"/>
              <a:buChar char="•"/>
            </a:pPr>
            <a:r>
              <a:rPr lang="en-US" sz="1199" dirty="0">
                <a:solidFill>
                  <a:srgbClr val="000000"/>
                </a:solidFill>
                <a:latin typeface="Verdana"/>
              </a:rPr>
              <a:t>All of the information developed and gathered during previously feasibility studies or projects on the corridor can be found at:</a:t>
            </a:r>
          </a:p>
          <a:p>
            <a:pPr marL="628084" lvl="1" indent="-171296" defTabSz="456789">
              <a:buFont typeface="Arial" panose="020B0604020202020204" pitchFamily="34" charset="0"/>
              <a:buChar char="•"/>
            </a:pPr>
            <a:endParaRPr lang="en-US" sz="1199" dirty="0">
              <a:solidFill>
                <a:srgbClr val="000000"/>
              </a:solidFill>
              <a:latin typeface="Verdana"/>
            </a:endParaRPr>
          </a:p>
          <a:p>
            <a:pPr marL="628084" lvl="1" indent="-171296" defTabSz="456789">
              <a:buFont typeface="Arial" panose="020B0604020202020204" pitchFamily="34" charset="0"/>
              <a:buChar char="•"/>
            </a:pPr>
            <a:r>
              <a:rPr lang="en-US" sz="1199" dirty="0">
                <a:solidFill>
                  <a:srgbClr val="000000"/>
                </a:solidFill>
                <a:latin typeface="Verdana"/>
              </a:rPr>
              <a:t>2013 Study</a:t>
            </a:r>
          </a:p>
          <a:p>
            <a:pPr marL="456789" lvl="1" defTabSz="456789"/>
            <a:r>
              <a:rPr lang="en-US" sz="1200" dirty="0">
                <a:solidFill>
                  <a:srgbClr val="000000"/>
                </a:solidFill>
                <a:latin typeface="Verdana"/>
                <a:hlinkClick r:id="rId2"/>
              </a:rPr>
              <a:t>https://www.keepitmovingdallas.com/projects/us-highways/us-75</a:t>
            </a:r>
            <a:endParaRPr lang="en-US" sz="1200" dirty="0">
              <a:solidFill>
                <a:srgbClr val="000000"/>
              </a:solidFill>
              <a:latin typeface="Verdana"/>
            </a:endParaRPr>
          </a:p>
          <a:p>
            <a:pPr marL="456789" lvl="1" defTabSz="456789"/>
            <a:endParaRPr lang="en-US" sz="1199" dirty="0">
              <a:solidFill>
                <a:srgbClr val="000000"/>
              </a:solidFill>
              <a:latin typeface="Verdana"/>
            </a:endParaRPr>
          </a:p>
          <a:p>
            <a:pPr marL="628084" lvl="1" indent="-171296" defTabSz="456789">
              <a:buFont typeface="Arial" panose="020B0604020202020204" pitchFamily="34" charset="0"/>
              <a:buChar char="•"/>
            </a:pPr>
            <a:r>
              <a:rPr lang="en-US" sz="1199" dirty="0">
                <a:solidFill>
                  <a:srgbClr val="000000"/>
                </a:solidFill>
                <a:latin typeface="Verdana"/>
              </a:rPr>
              <a:t>US 75 Technology Lanes (under construction) </a:t>
            </a:r>
          </a:p>
          <a:p>
            <a:pPr marL="456789" lvl="1" defTabSz="456789"/>
            <a:r>
              <a:rPr lang="en-US" sz="1200" dirty="0">
                <a:solidFill>
                  <a:srgbClr val="000000"/>
                </a:solidFill>
                <a:latin typeface="Verdana"/>
                <a:hlinkClick r:id="rId3"/>
              </a:rPr>
              <a:t>https://www.keepitmovingdallas.com/US75TechLanes</a:t>
            </a:r>
            <a:endParaRPr lang="en-US" sz="1200" dirty="0">
              <a:solidFill>
                <a:srgbClr val="000000"/>
              </a:solidFill>
              <a:latin typeface="Verdana"/>
            </a:endParaRPr>
          </a:p>
          <a:p>
            <a:pPr marL="456789" lvl="1" defTabSz="456789"/>
            <a:endParaRPr lang="en-US" sz="1199" dirty="0">
              <a:solidFill>
                <a:srgbClr val="000000"/>
              </a:solidFill>
              <a:latin typeface="Verdana"/>
            </a:endParaRPr>
          </a:p>
          <a:p>
            <a:pPr marL="628084" lvl="1" indent="-171296" defTabSz="456789">
              <a:buFont typeface="Arial" panose="020B0604020202020204" pitchFamily="34" charset="0"/>
              <a:buChar char="•"/>
            </a:pPr>
            <a:r>
              <a:rPr lang="en-US" sz="1199" dirty="0">
                <a:solidFill>
                  <a:srgbClr val="000000"/>
                </a:solidFill>
                <a:latin typeface="Verdana"/>
              </a:rPr>
              <a:t>Historical Studies and Information</a:t>
            </a:r>
          </a:p>
          <a:p>
            <a:pPr marL="456788" lvl="1" defTabSz="456789"/>
            <a:r>
              <a:rPr lang="en-US" sz="1200" u="sng" dirty="0">
                <a:solidFill>
                  <a:srgbClr val="467886"/>
                </a:solidFill>
                <a:ea typeface="Aptos" panose="020B0004020202020204" pitchFamily="34" charset="0"/>
                <a:cs typeface="Aptos" panose="020B0004020202020204" pitchFamily="34" charset="0"/>
                <a:hlinkClick r:id="rId4"/>
              </a:rPr>
              <a:t>https://txdot.box.com/s/ienfe6sktzpa0z7zunm1okvibmyvbhq7</a:t>
            </a:r>
            <a:endParaRPr lang="en-US" sz="1200" dirty="0"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456788" lvl="1" defTabSz="456789"/>
            <a:endParaRPr lang="en-US" sz="1199" dirty="0">
              <a:solidFill>
                <a:srgbClr val="000000"/>
              </a:solidFill>
              <a:latin typeface="Verdana"/>
            </a:endParaRPr>
          </a:p>
          <a:p>
            <a:pPr marL="628084" lvl="1" indent="-171296" defTabSz="456789">
              <a:buFont typeface="Arial" panose="020B0604020202020204" pitchFamily="34" charset="0"/>
              <a:buChar char="•"/>
            </a:pPr>
            <a:endParaRPr lang="en-US" sz="1199" dirty="0">
              <a:solidFill>
                <a:srgbClr val="000000"/>
              </a:solidFill>
              <a:latin typeface="Verdana"/>
            </a:endParaRPr>
          </a:p>
          <a:p>
            <a:pPr marL="628084" lvl="1" indent="-171296" defTabSz="456789">
              <a:buFont typeface="Arial" panose="020B0604020202020204" pitchFamily="34" charset="0"/>
              <a:buChar char="•"/>
            </a:pPr>
            <a:endParaRPr lang="en-US" sz="1199" dirty="0">
              <a:solidFill>
                <a:srgbClr val="000000"/>
              </a:solidFill>
              <a:latin typeface="Verdana"/>
            </a:endParaRPr>
          </a:p>
          <a:p>
            <a:pPr marL="628084" lvl="1" indent="-171296" defTabSz="456789">
              <a:buFont typeface="Arial" panose="020B0604020202020204" pitchFamily="34" charset="0"/>
              <a:buChar char="•"/>
            </a:pPr>
            <a:endParaRPr lang="en-US" sz="1199" dirty="0">
              <a:solidFill>
                <a:srgbClr val="000000"/>
              </a:solidFill>
              <a:latin typeface="Verdana"/>
            </a:endParaRPr>
          </a:p>
          <a:p>
            <a:pPr marL="628084" lvl="1" indent="-171296" defTabSz="456789">
              <a:buFont typeface="Arial" panose="020B0604020202020204" pitchFamily="34" charset="0"/>
              <a:buChar char="•"/>
            </a:pPr>
            <a:endParaRPr lang="en-US" sz="1199" dirty="0">
              <a:solidFill>
                <a:srgbClr val="000000"/>
              </a:solidFill>
              <a:latin typeface="Verdana"/>
            </a:endParaRPr>
          </a:p>
          <a:p>
            <a:pPr marL="628084" lvl="1" indent="-171296" defTabSz="456789">
              <a:buFont typeface="Arial" panose="020B0604020202020204" pitchFamily="34" charset="0"/>
              <a:buChar char="•"/>
            </a:pPr>
            <a:endParaRPr lang="en-US" sz="1199" dirty="0">
              <a:solidFill>
                <a:srgbClr val="000000"/>
              </a:solidFill>
              <a:latin typeface="Verdana"/>
            </a:endParaRPr>
          </a:p>
          <a:p>
            <a:pPr marL="456789" lvl="1" defTabSz="456789"/>
            <a:endParaRPr lang="en-US" sz="1199" dirty="0">
              <a:solidFill>
                <a:srgbClr val="000000"/>
              </a:solidFill>
              <a:latin typeface="Verdana"/>
            </a:endParaRPr>
          </a:p>
          <a:p>
            <a:pPr defTabSz="456789"/>
            <a:br>
              <a:rPr lang="en-US" sz="1199" dirty="0">
                <a:solidFill>
                  <a:srgbClr val="000000"/>
                </a:solidFill>
                <a:latin typeface="Verdana"/>
              </a:rPr>
            </a:br>
            <a:endParaRPr lang="en-US" sz="1199" dirty="0">
              <a:solidFill>
                <a:srgbClr val="000000"/>
              </a:solidFill>
              <a:latin typeface="Verdana"/>
            </a:endParaRPr>
          </a:p>
          <a:p>
            <a:pPr marL="171296" indent="-171296" defTabSz="456789">
              <a:buFont typeface="Arial" panose="020B0604020202020204" pitchFamily="34" charset="0"/>
              <a:buChar char="•"/>
            </a:pPr>
            <a:endParaRPr lang="en-US" sz="699" dirty="0">
              <a:solidFill>
                <a:srgbClr val="000000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5717495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7930E39-DCB6-5B29-BB41-A23CED14BC48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 bwMode="gray">
          <a:xfrm>
            <a:off x="214489" y="632548"/>
            <a:ext cx="8353424" cy="402336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kern="1200">
                <a:solidFill>
                  <a:srgbClr val="205588"/>
                </a:solidFill>
                <a:effectLst/>
                <a:latin typeface="Franklin Gothic Demi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05588"/>
                </a:solidFill>
                <a:effectLst/>
                <a:uLnTx/>
                <a:uFillTx/>
                <a:latin typeface="Franklin Gothic Demi" pitchFamily="34" charset="0"/>
                <a:ea typeface="+mn-ea"/>
                <a:cs typeface="Arial" pitchFamily="34" charset="0"/>
              </a:rPr>
              <a:t>Tentative Procurement Timeline</a:t>
            </a:r>
          </a:p>
        </p:txBody>
      </p:sp>
      <p:graphicFrame>
        <p:nvGraphicFramePr>
          <p:cNvPr id="9" name="Diagram 8" descr="Timeline">
            <a:extLst>
              <a:ext uri="{FF2B5EF4-FFF2-40B4-BE49-F238E27FC236}">
                <a16:creationId xmlns:a16="http://schemas.microsoft.com/office/drawing/2014/main" id="{985C3FA1-E175-B0D7-671A-31476EF81FF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01200100"/>
              </p:ext>
            </p:extLst>
          </p:nvPr>
        </p:nvGraphicFramePr>
        <p:xfrm>
          <a:off x="1459725" y="1116495"/>
          <a:ext cx="5453839" cy="36552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734A2D42-69A9-FB85-2A83-93C8152DEB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5949" t="-1161" r="15675" b="650"/>
          <a:stretch/>
        </p:blipFill>
        <p:spPr>
          <a:xfrm>
            <a:off x="3788733" y="749432"/>
            <a:ext cx="474018" cy="69680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sp>
        <p:nvSpPr>
          <p:cNvPr id="8" name="Rectangle 3">
            <a:extLst>
              <a:ext uri="{FF2B5EF4-FFF2-40B4-BE49-F238E27FC236}">
                <a16:creationId xmlns:a16="http://schemas.microsoft.com/office/drawing/2014/main" id="{EBCD525F-3789-878A-D9E1-FE3B2992D653}"/>
              </a:ext>
            </a:extLst>
          </p:cNvPr>
          <p:cNvSpPr txBox="1"/>
          <p:nvPr/>
        </p:nvSpPr>
        <p:spPr bwMode="gray">
          <a:xfrm>
            <a:off x="2912227" y="4864608"/>
            <a:ext cx="3319545" cy="207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spcBef>
                <a:spcPct val="60000"/>
              </a:spcBef>
              <a:buClr>
                <a:srgbClr val="E2E7EB"/>
              </a:buClr>
            </a:pPr>
            <a:r>
              <a:rPr lang="en-US" sz="1350" b="1" dirty="0">
                <a:solidFill>
                  <a:srgbClr val="F4BC46">
                    <a:lumMod val="75000"/>
                  </a:srgbClr>
                </a:solidFill>
                <a:latin typeface="Arial"/>
              </a:rPr>
              <a:t>Information is subject to change.</a:t>
            </a:r>
          </a:p>
        </p:txBody>
      </p:sp>
    </p:spTree>
    <p:extLst>
      <p:ext uri="{BB962C8B-B14F-4D97-AF65-F5344CB8AC3E}">
        <p14:creationId xmlns:p14="http://schemas.microsoft.com/office/powerpoint/2010/main" val="28572213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508FE626-909E-EC76-A313-86304D21EBC7}"/>
              </a:ext>
            </a:extLst>
          </p:cNvPr>
          <p:cNvSpPr txBox="1">
            <a:spLocks noGrp="1"/>
          </p:cNvSpPr>
          <p:nvPr>
            <p:ph type="title" idx="4294967295"/>
            <p:custDataLst>
              <p:tags r:id="rId1"/>
            </p:custDataLst>
          </p:nvPr>
        </p:nvSpPr>
        <p:spPr bwMode="gray">
          <a:xfrm>
            <a:off x="314673" y="673824"/>
            <a:ext cx="7791968" cy="307777"/>
          </a:xfrm>
          <a:prstGeom prst="rect">
            <a:avLst/>
          </a:prstGeom>
          <a:noFill/>
          <a:ln>
            <a:noFill/>
            <a:prstDash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 algn="l" defTabSz="68518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198" b="1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pPr marL="0" marR="0" lvl="0" indent="0" algn="l" defTabSz="6851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Wrap-Up and Next Steps</a:t>
            </a:r>
          </a:p>
        </p:txBody>
      </p:sp>
      <p:graphicFrame>
        <p:nvGraphicFramePr>
          <p:cNvPr id="8" name="Content Placeholder 3" descr="Next steps diagram">
            <a:extLst>
              <a:ext uri="{FF2B5EF4-FFF2-40B4-BE49-F238E27FC236}">
                <a16:creationId xmlns:a16="http://schemas.microsoft.com/office/drawing/2014/main" id="{8D29F5E2-BDB5-8301-9A9C-459E1F7116F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22192636"/>
              </p:ext>
            </p:extLst>
          </p:nvPr>
        </p:nvGraphicFramePr>
        <p:xfrm>
          <a:off x="552959" y="1280159"/>
          <a:ext cx="8038082" cy="33400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586DE7BE-AEB7-9A84-5643-3E554D7FCD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6955" y="2036228"/>
            <a:ext cx="1350545" cy="258125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12841387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3E36167-8D25-3FDA-CF8C-68CA12EC8C7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53678" y="-402336"/>
            <a:ext cx="8353424" cy="402336"/>
          </a:xfrm>
        </p:spPr>
        <p:txBody>
          <a:bodyPr wrap="square" lIns="0" rtlCol="0" anchor="b">
            <a:spAutoFit/>
          </a:bodyPr>
          <a:lstStyle/>
          <a:p>
            <a:r>
              <a:rPr lang="en-US" dirty="0"/>
              <a:t>Questions</a:t>
            </a:r>
          </a:p>
        </p:txBody>
      </p:sp>
    </p:spTree>
    <p:extLst>
      <p:ext uri="{BB962C8B-B14F-4D97-AF65-F5344CB8AC3E}">
        <p14:creationId xmlns:p14="http://schemas.microsoft.com/office/powerpoint/2010/main" val="180561320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D7FAD5AC-084D-A5BC-AD45-B5722456E9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Drive like a Texan English</a:t>
            </a:r>
          </a:p>
        </p:txBody>
      </p:sp>
      <p:pic>
        <p:nvPicPr>
          <p:cNvPr id="2" name="Picture 1" descr="Help make Texas safer for everyone&#10;Drive like a Texan&#10;Kind. Courteous. Safe.&#10;DriveLikeATexan.com&#10; QR Code - https://www.txdot.gov/drivelikeatexan?cid=qr-txdot-ppt-template:direct:AW:dlat">
            <a:extLst>
              <a:ext uri="{FF2B5EF4-FFF2-40B4-BE49-F238E27FC236}">
                <a16:creationId xmlns:a16="http://schemas.microsoft.com/office/drawing/2014/main" id="{890F2833-F27D-9D26-00B3-C61477A572F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-2420" y="554096"/>
            <a:ext cx="9148839" cy="459517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3271233-3AC4-F631-047F-5425C2A75632}"/>
              </a:ext>
            </a:extLst>
          </p:cNvPr>
          <p:cNvSpPr txBox="1"/>
          <p:nvPr/>
        </p:nvSpPr>
        <p:spPr>
          <a:xfrm>
            <a:off x="128865" y="2338572"/>
            <a:ext cx="259532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E2E7EB"/>
                </a:solidFill>
                <a:latin typeface="Franklin Gothic Book" panose="020B0503020102020204" pitchFamily="34" charset="0"/>
              </a:rPr>
              <a:t>Contact Information:</a:t>
            </a:r>
          </a:p>
          <a:p>
            <a:pPr lvl="1"/>
            <a:r>
              <a:rPr lang="en-US" sz="1200" b="1" i="1" dirty="0">
                <a:solidFill>
                  <a:srgbClr val="E2E7EB"/>
                </a:solidFill>
                <a:latin typeface="Franklin Gothic Book" panose="020B0503020102020204" pitchFamily="34" charset="0"/>
              </a:rPr>
              <a:t>Christopher Franco, P.E.</a:t>
            </a:r>
          </a:p>
          <a:p>
            <a:pPr lvl="1"/>
            <a:r>
              <a:rPr lang="en-US" sz="1200" b="1" i="1" dirty="0">
                <a:solidFill>
                  <a:srgbClr val="E2E7EB"/>
                </a:solidFill>
                <a:latin typeface="Franklin Gothic Book" panose="020B0503020102020204" pitchFamily="34" charset="0"/>
              </a:rPr>
              <a:t>PEPS-Lead Engineer</a:t>
            </a:r>
          </a:p>
          <a:p>
            <a:pPr lvl="1"/>
            <a:r>
              <a:rPr lang="en-US" sz="1200" b="1" i="1" dirty="0">
                <a:solidFill>
                  <a:srgbClr val="E2E7EB"/>
                </a:solidFill>
                <a:latin typeface="Franklin Gothic Book" panose="020B0503020102020204" pitchFamily="34" charset="0"/>
              </a:rPr>
              <a:t>PEPS Dallas Service Center</a:t>
            </a:r>
          </a:p>
          <a:p>
            <a:pPr lvl="1"/>
            <a:r>
              <a:rPr lang="en-US" sz="1200" b="1" i="1" dirty="0">
                <a:solidFill>
                  <a:srgbClr val="E2E7EB"/>
                </a:solidFill>
                <a:latin typeface="Franklin Gothic Book" panose="020B0503020102020204" pitchFamily="34" charset="0"/>
              </a:rPr>
              <a:t>(214) 320-4405</a:t>
            </a:r>
          </a:p>
          <a:p>
            <a:pPr lvl="1"/>
            <a:r>
              <a:rPr lang="en-US" sz="1200" b="1" i="1" dirty="0">
                <a:solidFill>
                  <a:srgbClr val="E2E7EB"/>
                </a:solidFill>
                <a:latin typeface="Franklin Gothic Book" panose="020B0503020102020204" pitchFamily="34" charset="0"/>
              </a:rPr>
              <a:t>Christopher.Franco@txdot.gov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FD9D946-5ECA-D945-C308-7C41F3DB9F71}"/>
              </a:ext>
            </a:extLst>
          </p:cNvPr>
          <p:cNvSpPr txBox="1"/>
          <p:nvPr/>
        </p:nvSpPr>
        <p:spPr>
          <a:xfrm>
            <a:off x="6597460" y="2338573"/>
            <a:ext cx="24895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E2E7EB"/>
                </a:solidFill>
                <a:latin typeface="Franklin Gothic Book" panose="020B0503020102020204" pitchFamily="34" charset="0"/>
              </a:rPr>
              <a:t>Contact Information:</a:t>
            </a:r>
          </a:p>
          <a:p>
            <a:pPr lvl="1"/>
            <a:r>
              <a:rPr lang="en-US" sz="1200" b="1" i="1" dirty="0">
                <a:solidFill>
                  <a:srgbClr val="E2E7EB"/>
                </a:solidFill>
                <a:latin typeface="Franklin Gothic Book" panose="020B0503020102020204" pitchFamily="34" charset="0"/>
              </a:rPr>
              <a:t>Joe </a:t>
            </a:r>
            <a:r>
              <a:rPr lang="en-US" sz="1200" b="1" i="1" dirty="0" err="1">
                <a:solidFill>
                  <a:srgbClr val="E2E7EB"/>
                </a:solidFill>
                <a:latin typeface="Franklin Gothic Book" panose="020B0503020102020204" pitchFamily="34" charset="0"/>
              </a:rPr>
              <a:t>Jancuska</a:t>
            </a:r>
            <a:r>
              <a:rPr lang="en-US" sz="1200" b="1" i="1" dirty="0">
                <a:solidFill>
                  <a:srgbClr val="E2E7EB"/>
                </a:solidFill>
                <a:latin typeface="Franklin Gothic Book" panose="020B0503020102020204" pitchFamily="34" charset="0"/>
              </a:rPr>
              <a:t>, P.E., CFM</a:t>
            </a:r>
          </a:p>
          <a:p>
            <a:pPr lvl="1"/>
            <a:r>
              <a:rPr lang="en-US" sz="1200" b="1" i="1" dirty="0">
                <a:solidFill>
                  <a:srgbClr val="E2E7EB"/>
                </a:solidFill>
                <a:latin typeface="Franklin Gothic Book" panose="020B0503020102020204" pitchFamily="34" charset="0"/>
              </a:rPr>
              <a:t>Service Center Manager</a:t>
            </a:r>
          </a:p>
          <a:p>
            <a:pPr lvl="1"/>
            <a:r>
              <a:rPr lang="en-US" sz="1200" b="1" i="1" dirty="0">
                <a:solidFill>
                  <a:srgbClr val="E2E7EB"/>
                </a:solidFill>
                <a:latin typeface="Franklin Gothic Book" panose="020B0503020102020204" pitchFamily="34" charset="0"/>
              </a:rPr>
              <a:t>PEPS Dallas Service Center</a:t>
            </a:r>
          </a:p>
          <a:p>
            <a:pPr lvl="1"/>
            <a:r>
              <a:rPr lang="en-US" sz="1200" b="1" i="1" dirty="0">
                <a:solidFill>
                  <a:srgbClr val="E2E7EB"/>
                </a:solidFill>
                <a:latin typeface="Franklin Gothic Book" panose="020B0503020102020204" pitchFamily="34" charset="0"/>
              </a:rPr>
              <a:t>(214) 320-6187</a:t>
            </a:r>
          </a:p>
          <a:p>
            <a:pPr lvl="1"/>
            <a:r>
              <a:rPr lang="en-US" sz="1200" b="1" i="1" dirty="0">
                <a:solidFill>
                  <a:srgbClr val="E2E7EB"/>
                </a:solidFill>
                <a:latin typeface="Franklin Gothic Book" panose="020B0503020102020204" pitchFamily="34" charset="0"/>
              </a:rPr>
              <a:t>Joseph.Jancuska@txdot.gov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FAAA7CF-7787-BB0B-E5CF-F8C5B1BADB49}"/>
              </a:ext>
            </a:extLst>
          </p:cNvPr>
          <p:cNvSpPr txBox="1">
            <a:spLocks/>
          </p:cNvSpPr>
          <p:nvPr/>
        </p:nvSpPr>
        <p:spPr>
          <a:xfrm>
            <a:off x="339635" y="728207"/>
            <a:ext cx="8868359" cy="40233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68518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198" b="1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THANK YOU FOR ATTTENDING THE PRE-RFP MEETING!</a:t>
            </a:r>
          </a:p>
        </p:txBody>
      </p:sp>
    </p:spTree>
    <p:extLst>
      <p:ext uri="{BB962C8B-B14F-4D97-AF65-F5344CB8AC3E}">
        <p14:creationId xmlns:p14="http://schemas.microsoft.com/office/powerpoint/2010/main" val="22724885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F0EB6C-6D8F-A9B7-A294-17362D6AB7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9005" y="731082"/>
            <a:ext cx="8229600" cy="294612"/>
          </a:xfrm>
        </p:spPr>
        <p:txBody>
          <a:bodyPr>
            <a:noAutofit/>
          </a:bodyPr>
          <a:lstStyle/>
          <a:p>
            <a:r>
              <a:rPr lang="en-US" dirty="0"/>
              <a:t>Housekeeping</a:t>
            </a: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4CC6AC4F-0823-2805-6981-42EBDAAFB5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500" b="98333" l="26167" r="73667">
                        <a14:backgroundMark x1="65833" y1="3167" x2="34000" y2="5667"/>
                        <a14:backgroundMark x1="34000" y1="6333" x2="31500" y2="8333"/>
                        <a14:backgroundMark x1="30833" y1="11833" x2="32667" y2="6333"/>
                        <a14:backgroundMark x1="30333" y1="11500" x2="30833" y2="88667"/>
                        <a14:backgroundMark x1="65500" y1="2833" x2="69000" y2="4500"/>
                        <a14:backgroundMark x1="69333" y1="6333" x2="70167" y2="11000"/>
                        <a14:backgroundMark x1="69833" y1="11833" x2="70167" y2="92500"/>
                        <a14:backgroundMark x1="70167" y1="92500" x2="68667" y2="95667"/>
                        <a14:backgroundMark x1="68667" y1="95667" x2="63500" y2="96833"/>
                        <a14:backgroundMark x1="64333" y1="96833" x2="32667" y2="94167"/>
                        <a14:backgroundMark x1="32667" y1="94167" x2="31167" y2="9133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3879" y="3580855"/>
            <a:ext cx="1382761" cy="13827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7">
            <a:extLst>
              <a:ext uri="{FF2B5EF4-FFF2-40B4-BE49-F238E27FC236}">
                <a16:creationId xmlns:a16="http://schemas.microsoft.com/office/drawing/2014/main" id="{00F12ACA-BA7D-0627-185A-58A12A4D22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4843" y="3599069"/>
            <a:ext cx="838890" cy="1346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3">
            <a:extLst>
              <a:ext uri="{FF2B5EF4-FFF2-40B4-BE49-F238E27FC236}">
                <a16:creationId xmlns:a16="http://schemas.microsoft.com/office/drawing/2014/main" id="{E35E2834-B433-4E1B-80A6-231F8E3D3A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0997" y="3778182"/>
            <a:ext cx="914623" cy="914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9" name="Diagram 8" descr="Thank you message box">
            <a:extLst>
              <a:ext uri="{FF2B5EF4-FFF2-40B4-BE49-F238E27FC236}">
                <a16:creationId xmlns:a16="http://schemas.microsoft.com/office/drawing/2014/main" id="{4B03DA16-68CE-FB3C-3050-B28DB035F1F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97035247"/>
              </p:ext>
            </p:extLst>
          </p:nvPr>
        </p:nvGraphicFramePr>
        <p:xfrm>
          <a:off x="1317716" y="1262425"/>
          <a:ext cx="6286500" cy="22193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7636793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F0EB6C-6D8F-A9B7-A294-17362D6AB7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901" y="833897"/>
            <a:ext cx="8229600" cy="294612"/>
          </a:xfrm>
        </p:spPr>
        <p:txBody>
          <a:bodyPr>
            <a:noAutofit/>
          </a:bodyPr>
          <a:lstStyle/>
          <a:p>
            <a:r>
              <a:rPr lang="en-US" sz="2000" dirty="0"/>
              <a:t>FY 26 Wave 4 Pre-RFP Meeting Agenda 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1049F50D-3B83-89FF-0723-5D0977634E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5221625"/>
              </p:ext>
            </p:extLst>
          </p:nvPr>
        </p:nvGraphicFramePr>
        <p:xfrm>
          <a:off x="403901" y="1393605"/>
          <a:ext cx="8463890" cy="2712518"/>
        </p:xfrm>
        <a:graphic>
          <a:graphicData uri="http://schemas.openxmlformats.org/drawingml/2006/table">
            <a:tbl>
              <a:tblPr firstRow="1" bandRow="1"/>
              <a:tblGrid>
                <a:gridCol w="4231945">
                  <a:extLst>
                    <a:ext uri="{9D8B030D-6E8A-4147-A177-3AD203B41FA5}">
                      <a16:colId xmlns:a16="http://schemas.microsoft.com/office/drawing/2014/main" val="4183724521"/>
                    </a:ext>
                  </a:extLst>
                </a:gridCol>
                <a:gridCol w="4231945">
                  <a:extLst>
                    <a:ext uri="{9D8B030D-6E8A-4147-A177-3AD203B41FA5}">
                      <a16:colId xmlns:a16="http://schemas.microsoft.com/office/drawing/2014/main" val="1174509067"/>
                    </a:ext>
                  </a:extLst>
                </a:gridCol>
              </a:tblGrid>
              <a:tr h="408580">
                <a:tc>
                  <a:txBody>
                    <a:bodyPr/>
                    <a:lstStyle>
                      <a:lvl1pPr marL="0" algn="l" defTabSz="685183" rtl="0" eaLnBrk="1" latinLnBrk="0" hangingPunct="1">
                        <a:defRPr sz="1349" b="1" kern="1200">
                          <a:solidFill>
                            <a:schemeClr val="bg1"/>
                          </a:solidFill>
                          <a:latin typeface="Arial"/>
                        </a:defRPr>
                      </a:lvl1pPr>
                      <a:lvl2pPr marL="342591" algn="l" defTabSz="685183" rtl="0" eaLnBrk="1" latinLnBrk="0" hangingPunct="1">
                        <a:defRPr sz="1349" b="1" kern="1200">
                          <a:solidFill>
                            <a:schemeClr val="bg1"/>
                          </a:solidFill>
                          <a:latin typeface="Arial"/>
                        </a:defRPr>
                      </a:lvl2pPr>
                      <a:lvl3pPr marL="685183" algn="l" defTabSz="685183" rtl="0" eaLnBrk="1" latinLnBrk="0" hangingPunct="1">
                        <a:defRPr sz="1349" b="1" kern="1200">
                          <a:solidFill>
                            <a:schemeClr val="bg1"/>
                          </a:solidFill>
                          <a:latin typeface="Arial"/>
                        </a:defRPr>
                      </a:lvl3pPr>
                      <a:lvl4pPr marL="1027774" algn="l" defTabSz="685183" rtl="0" eaLnBrk="1" latinLnBrk="0" hangingPunct="1">
                        <a:defRPr sz="1349" b="1" kern="1200">
                          <a:solidFill>
                            <a:schemeClr val="bg1"/>
                          </a:solidFill>
                          <a:latin typeface="Arial"/>
                        </a:defRPr>
                      </a:lvl4pPr>
                      <a:lvl5pPr marL="1370366" algn="l" defTabSz="685183" rtl="0" eaLnBrk="1" latinLnBrk="0" hangingPunct="1">
                        <a:defRPr sz="1349" b="1" kern="1200">
                          <a:solidFill>
                            <a:schemeClr val="bg1"/>
                          </a:solidFill>
                          <a:latin typeface="Arial"/>
                        </a:defRPr>
                      </a:lvl5pPr>
                      <a:lvl6pPr marL="1712957" algn="l" defTabSz="685183" rtl="0" eaLnBrk="1" latinLnBrk="0" hangingPunct="1">
                        <a:defRPr sz="1349" b="1" kern="1200">
                          <a:solidFill>
                            <a:schemeClr val="bg1"/>
                          </a:solidFill>
                          <a:latin typeface="Arial"/>
                        </a:defRPr>
                      </a:lvl6pPr>
                      <a:lvl7pPr marL="2055548" algn="l" defTabSz="685183" rtl="0" eaLnBrk="1" latinLnBrk="0" hangingPunct="1">
                        <a:defRPr sz="1349" b="1" kern="1200">
                          <a:solidFill>
                            <a:schemeClr val="bg1"/>
                          </a:solidFill>
                          <a:latin typeface="Arial"/>
                        </a:defRPr>
                      </a:lvl7pPr>
                      <a:lvl8pPr marL="2398140" algn="l" defTabSz="685183" rtl="0" eaLnBrk="1" latinLnBrk="0" hangingPunct="1">
                        <a:defRPr sz="1349" b="1" kern="1200">
                          <a:solidFill>
                            <a:schemeClr val="bg1"/>
                          </a:solidFill>
                          <a:latin typeface="Arial"/>
                        </a:defRPr>
                      </a:lvl8pPr>
                      <a:lvl9pPr marL="2740731" algn="l" defTabSz="685183" rtl="0" eaLnBrk="1" latinLnBrk="0" hangingPunct="1">
                        <a:defRPr sz="1349" b="1" kern="1200">
                          <a:solidFill>
                            <a:schemeClr val="bg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dirty="0"/>
                        <a:t>Topic</a:t>
                      </a:r>
                    </a:p>
                  </a:txBody>
                  <a:tcPr>
                    <a:lnL w="9525" cap="flat" cmpd="sng" algn="ctr">
                      <a:solidFill>
                        <a:srgbClr val="0F3859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0F3859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F3859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F3859"/>
                    </a:solidFill>
                  </a:tcPr>
                </a:tc>
                <a:tc>
                  <a:txBody>
                    <a:bodyPr/>
                    <a:lstStyle>
                      <a:lvl1pPr marL="0" algn="l" defTabSz="685183" rtl="0" eaLnBrk="1" latinLnBrk="0" hangingPunct="1">
                        <a:defRPr sz="1349" b="1" kern="1200">
                          <a:solidFill>
                            <a:schemeClr val="bg1"/>
                          </a:solidFill>
                          <a:latin typeface="Arial"/>
                        </a:defRPr>
                      </a:lvl1pPr>
                      <a:lvl2pPr marL="342591" algn="l" defTabSz="685183" rtl="0" eaLnBrk="1" latinLnBrk="0" hangingPunct="1">
                        <a:defRPr sz="1349" b="1" kern="1200">
                          <a:solidFill>
                            <a:schemeClr val="bg1"/>
                          </a:solidFill>
                          <a:latin typeface="Arial"/>
                        </a:defRPr>
                      </a:lvl2pPr>
                      <a:lvl3pPr marL="685183" algn="l" defTabSz="685183" rtl="0" eaLnBrk="1" latinLnBrk="0" hangingPunct="1">
                        <a:defRPr sz="1349" b="1" kern="1200">
                          <a:solidFill>
                            <a:schemeClr val="bg1"/>
                          </a:solidFill>
                          <a:latin typeface="Arial"/>
                        </a:defRPr>
                      </a:lvl3pPr>
                      <a:lvl4pPr marL="1027774" algn="l" defTabSz="685183" rtl="0" eaLnBrk="1" latinLnBrk="0" hangingPunct="1">
                        <a:defRPr sz="1349" b="1" kern="1200">
                          <a:solidFill>
                            <a:schemeClr val="bg1"/>
                          </a:solidFill>
                          <a:latin typeface="Arial"/>
                        </a:defRPr>
                      </a:lvl4pPr>
                      <a:lvl5pPr marL="1370366" algn="l" defTabSz="685183" rtl="0" eaLnBrk="1" latinLnBrk="0" hangingPunct="1">
                        <a:defRPr sz="1349" b="1" kern="1200">
                          <a:solidFill>
                            <a:schemeClr val="bg1"/>
                          </a:solidFill>
                          <a:latin typeface="Arial"/>
                        </a:defRPr>
                      </a:lvl5pPr>
                      <a:lvl6pPr marL="1712957" algn="l" defTabSz="685183" rtl="0" eaLnBrk="1" latinLnBrk="0" hangingPunct="1">
                        <a:defRPr sz="1349" b="1" kern="1200">
                          <a:solidFill>
                            <a:schemeClr val="bg1"/>
                          </a:solidFill>
                          <a:latin typeface="Arial"/>
                        </a:defRPr>
                      </a:lvl6pPr>
                      <a:lvl7pPr marL="2055548" algn="l" defTabSz="685183" rtl="0" eaLnBrk="1" latinLnBrk="0" hangingPunct="1">
                        <a:defRPr sz="1349" b="1" kern="1200">
                          <a:solidFill>
                            <a:schemeClr val="bg1"/>
                          </a:solidFill>
                          <a:latin typeface="Arial"/>
                        </a:defRPr>
                      </a:lvl7pPr>
                      <a:lvl8pPr marL="2398140" algn="l" defTabSz="685183" rtl="0" eaLnBrk="1" latinLnBrk="0" hangingPunct="1">
                        <a:defRPr sz="1349" b="1" kern="1200">
                          <a:solidFill>
                            <a:schemeClr val="bg1"/>
                          </a:solidFill>
                          <a:latin typeface="Arial"/>
                        </a:defRPr>
                      </a:lvl8pPr>
                      <a:lvl9pPr marL="2740731" algn="l" defTabSz="685183" rtl="0" eaLnBrk="1" latinLnBrk="0" hangingPunct="1">
                        <a:defRPr sz="1349" b="1" kern="1200">
                          <a:solidFill>
                            <a:schemeClr val="bg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dirty="0"/>
                        <a:t>Presenters</a:t>
                      </a:r>
                    </a:p>
                  </a:txBody>
                  <a:tcPr>
                    <a:lnL>
                      <a:noFill/>
                    </a:lnL>
                    <a:lnR w="9525" cap="flat" cmpd="sng" algn="ctr">
                      <a:solidFill>
                        <a:srgbClr val="0F3859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F3859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F3859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F385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3573632"/>
                  </a:ext>
                </a:extLst>
              </a:tr>
              <a:tr h="414255">
                <a:tc>
                  <a:txBody>
                    <a:bodyPr/>
                    <a:lstStyle>
                      <a:lvl1pPr marL="0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342591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685183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027774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370366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712957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055548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2398140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2740731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685183" rtl="0" eaLnBrk="1" latinLnBrk="0" hangingPunct="1"/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Introduction &amp; Ground Rules</a:t>
                      </a:r>
                    </a:p>
                  </a:txBody>
                  <a:tcPr marL="45720" marR="45720">
                    <a:lnL w="9525" cap="flat" cmpd="sng" algn="ctr">
                      <a:solidFill>
                        <a:srgbClr val="0F3859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0F3859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F3859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342591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685183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027774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370366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712957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055548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2398140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2740731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685183" rtl="0" eaLnBrk="1" latinLnBrk="0" hangingPunct="1"/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PEPS – Christopher Franco</a:t>
                      </a:r>
                    </a:p>
                  </a:txBody>
                  <a:tcPr marL="45720" marR="45720">
                    <a:lnL>
                      <a:noFill/>
                    </a:lnL>
                    <a:lnR w="9525" cap="flat" cmpd="sng" algn="ctr">
                      <a:solidFill>
                        <a:srgbClr val="0F3859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F3859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F3859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1608519"/>
                  </a:ext>
                </a:extLst>
              </a:tr>
              <a:tr h="414255">
                <a:tc>
                  <a:txBody>
                    <a:bodyPr/>
                    <a:lstStyle>
                      <a:lvl1pPr marL="0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342591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685183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027774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370366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712957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055548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2398140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2740731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600" b="0" dirty="0"/>
                        <a:t>Solicitation Process &amp; RFP Requirements</a:t>
                      </a:r>
                    </a:p>
                  </a:txBody>
                  <a:tcPr marL="45720" marR="45720">
                    <a:lnL w="9525" cap="flat" cmpd="sng" algn="ctr">
                      <a:solidFill>
                        <a:srgbClr val="0F3859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0F3859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F3859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342591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685183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027774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370366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712957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055548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2398140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2740731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600" b="0" dirty="0"/>
                        <a:t>PEPS – Christopher Franco</a:t>
                      </a:r>
                    </a:p>
                  </a:txBody>
                  <a:tcPr marL="45720" marR="45720">
                    <a:lnL>
                      <a:noFill/>
                    </a:lnL>
                    <a:lnR w="9525" cap="flat" cmpd="sng" algn="ctr">
                      <a:solidFill>
                        <a:srgbClr val="0F3859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F3859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F3859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9653107"/>
                  </a:ext>
                </a:extLst>
              </a:tr>
              <a:tr h="646918">
                <a:tc>
                  <a:txBody>
                    <a:bodyPr/>
                    <a:lstStyle>
                      <a:lvl1pPr marL="0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342591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685183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027774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370366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712957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055548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2398140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2740731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600" dirty="0"/>
                        <a:t>Dallas District US 75 Detail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Discuss project needs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rgbClr val="0F3859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0F3859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F3859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342591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685183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027774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370366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712957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055548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2398140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2740731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600" dirty="0"/>
                        <a:t>PEPS – Grace Lo</a:t>
                      </a:r>
                    </a:p>
                  </a:txBody>
                  <a:tcPr marL="45720" marR="45720" anchor="ctr">
                    <a:lnL>
                      <a:noFill/>
                    </a:lnL>
                    <a:lnR w="9525" cap="flat" cmpd="sng" algn="ctr">
                      <a:solidFill>
                        <a:srgbClr val="0F3859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F3859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F3859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0826157"/>
                  </a:ext>
                </a:extLst>
              </a:tr>
              <a:tr h="414255">
                <a:tc>
                  <a:txBody>
                    <a:bodyPr/>
                    <a:lstStyle>
                      <a:lvl1pPr marL="0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342591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685183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027774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370366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712957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055548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2398140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2740731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600" dirty="0"/>
                        <a:t>Proposed Procurement Timeline</a:t>
                      </a:r>
                    </a:p>
                  </a:txBody>
                  <a:tcPr marL="45720" marR="45720">
                    <a:lnL w="9525" cap="flat" cmpd="sng" algn="ctr">
                      <a:solidFill>
                        <a:srgbClr val="0F3859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0F3859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F3859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342591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685183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027774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370366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712957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055548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2398140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2740731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600" dirty="0"/>
                        <a:t>PEPS – Christopher Franco</a:t>
                      </a:r>
                    </a:p>
                  </a:txBody>
                  <a:tcPr marL="45720" marR="45720">
                    <a:lnL>
                      <a:noFill/>
                    </a:lnL>
                    <a:lnR w="9525" cap="flat" cmpd="sng" algn="ctr">
                      <a:solidFill>
                        <a:srgbClr val="0F3859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F3859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F3859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6419832"/>
                  </a:ext>
                </a:extLst>
              </a:tr>
              <a:tr h="414255">
                <a:tc>
                  <a:txBody>
                    <a:bodyPr/>
                    <a:lstStyle>
                      <a:lvl1pPr marL="0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342591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685183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027774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370366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712957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055548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2398140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2740731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600" dirty="0"/>
                        <a:t>Wrap-up &amp; Next Steps</a:t>
                      </a:r>
                    </a:p>
                  </a:txBody>
                  <a:tcPr marL="45720" marR="45720">
                    <a:lnL w="9525" cap="flat" cmpd="sng" algn="ctr">
                      <a:solidFill>
                        <a:srgbClr val="0F3859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0F3859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F3859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342591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685183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027774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370366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712957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055548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2398140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2740731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600" dirty="0"/>
                        <a:t>PEPS – Christopher Franco</a:t>
                      </a:r>
                    </a:p>
                  </a:txBody>
                  <a:tcPr marL="45720" marR="45720">
                    <a:lnL>
                      <a:noFill/>
                    </a:lnL>
                    <a:lnR w="9525" cap="flat" cmpd="sng" algn="ctr">
                      <a:solidFill>
                        <a:srgbClr val="0F3859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F3859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F3859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02404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337679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1D741CF-DF3A-277F-5D50-2766B59E6ABF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283014" y="656214"/>
            <a:ext cx="8353424" cy="40011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 defTabSz="68518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198" b="1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pPr marL="0" marR="0" lvl="0" indent="0" algn="l" defTabSz="6851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Procurement Team Introduction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8DE24D7-6C30-0D79-03B9-3777C84E69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58894" y="1354022"/>
            <a:ext cx="1447604" cy="2282772"/>
            <a:chOff x="42170" y="-1187451"/>
            <a:chExt cx="1478175" cy="2524280"/>
          </a:xfrm>
        </p:grpSpPr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3AF366DB-3D2F-F9DD-0254-BCE787C8900E}"/>
                </a:ext>
              </a:extLst>
            </p:cNvPr>
            <p:cNvSpPr/>
            <p:nvPr/>
          </p:nvSpPr>
          <p:spPr>
            <a:xfrm>
              <a:off x="77717" y="-1187451"/>
              <a:ext cx="1442628" cy="2524280"/>
            </a:xfrm>
            <a:prstGeom prst="roundRect">
              <a:avLst/>
            </a:prstGeom>
            <a:gradFill rotWithShape="1">
              <a:gsLst>
                <a:gs pos="0">
                  <a:srgbClr val="0F3859">
                    <a:hueOff val="0"/>
                    <a:satOff val="0"/>
                    <a:lumOff val="0"/>
                    <a:alphaOff val="0"/>
                    <a:shade val="51000"/>
                    <a:satMod val="130000"/>
                  </a:srgbClr>
                </a:gs>
                <a:gs pos="80000">
                  <a:srgbClr val="0F3859">
                    <a:hueOff val="0"/>
                    <a:satOff val="0"/>
                    <a:lumOff val="0"/>
                    <a:alphaOff val="0"/>
                    <a:shade val="93000"/>
                    <a:satMod val="130000"/>
                  </a:srgbClr>
                </a:gs>
                <a:gs pos="100000">
                  <a:srgbClr val="0F3859">
                    <a:hueOff val="0"/>
                    <a:satOff val="0"/>
                    <a:lumOff val="0"/>
                    <a:alphaOff val="0"/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Rectangle: Rounded Corners 4">
              <a:extLst>
                <a:ext uri="{FF2B5EF4-FFF2-40B4-BE49-F238E27FC236}">
                  <a16:creationId xmlns:a16="http://schemas.microsoft.com/office/drawing/2014/main" id="{340D6006-E89D-7652-B376-9927CA9ED053}"/>
                </a:ext>
              </a:extLst>
            </p:cNvPr>
            <p:cNvSpPr txBox="1"/>
            <p:nvPr/>
          </p:nvSpPr>
          <p:spPr>
            <a:xfrm>
              <a:off x="42170" y="-952020"/>
              <a:ext cx="1304788" cy="193495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marL="0" marR="0" lvl="0" indent="0" algn="ctr" defTabSz="84455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84455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ntract Selection Team (CST) Members: </a:t>
              </a:r>
            </a:p>
            <a:p>
              <a:pPr marL="0" marR="0" lvl="0" indent="0" algn="ctr" defTabSz="84455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8" name="Rectangle: Top Corners Rounded 7" descr="CST members">
            <a:extLst>
              <a:ext uri="{FF2B5EF4-FFF2-40B4-BE49-F238E27FC236}">
                <a16:creationId xmlns:a16="http://schemas.microsoft.com/office/drawing/2014/main" id="{B529643F-5B33-1392-E23C-F3B4F21D594A}"/>
              </a:ext>
            </a:extLst>
          </p:cNvPr>
          <p:cNvSpPr/>
          <p:nvPr/>
        </p:nvSpPr>
        <p:spPr>
          <a:xfrm rot="5400000">
            <a:off x="1866899" y="1126049"/>
            <a:ext cx="2280542" cy="2740946"/>
          </a:xfrm>
          <a:prstGeom prst="round2SameRect">
            <a:avLst/>
          </a:prstGeom>
          <a:solidFill>
            <a:srgbClr val="E2E7EB"/>
          </a:solidFill>
          <a:ln w="9525" cap="flat" cmpd="sng" algn="ctr">
            <a:solidFill>
              <a:srgbClr val="79A03F">
                <a:tint val="40000"/>
                <a:alpha val="90000"/>
                <a:hueOff val="0"/>
                <a:satOff val="0"/>
                <a:lumOff val="0"/>
                <a:alphaOff val="0"/>
                <a:shade val="95000"/>
                <a:satMod val="105000"/>
              </a:srgbClr>
            </a:solidFill>
            <a:prstDash val="solid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: Top Corners Rounded 4">
            <a:extLst>
              <a:ext uri="{FF2B5EF4-FFF2-40B4-BE49-F238E27FC236}">
                <a16:creationId xmlns:a16="http://schemas.microsoft.com/office/drawing/2014/main" id="{73507C8E-AA34-9197-503D-CF6D6BD0313C}"/>
              </a:ext>
            </a:extLst>
          </p:cNvPr>
          <p:cNvSpPr txBox="1"/>
          <p:nvPr/>
        </p:nvSpPr>
        <p:spPr>
          <a:xfrm>
            <a:off x="1724025" y="1300455"/>
            <a:ext cx="2767233" cy="2282772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marL="171450" marR="0" lvl="1" indent="-171450" defTabSz="4445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E2E7EB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race Lo, P.E. </a:t>
            </a:r>
          </a:p>
          <a:p>
            <a:pPr marL="171450" lvl="2" defTabSz="4445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tabLst>
                <a:tab pos="171450" algn="l"/>
              </a:tabLst>
              <a:defRPr/>
            </a:pPr>
            <a:r>
              <a:rPr lang="en-US" sz="1000" i="1" kern="0" dirty="0">
                <a:solidFill>
                  <a:srgbClr val="E2E7EB">
                    <a:lumMod val="1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kumimoji="0" lang="en-US" sz="1000" i="1" u="none" strike="noStrike" kern="0" cap="none" spc="0" normalizeH="0" baseline="0" noProof="0" dirty="0" err="1">
                <a:ln>
                  <a:noFill/>
                </a:ln>
                <a:solidFill>
                  <a:srgbClr val="E2E7EB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ansportation</a:t>
            </a:r>
            <a:r>
              <a:rPr kumimoji="0" lang="en-US" sz="1000" i="1" u="none" strike="noStrike" kern="0" cap="none" spc="0" normalizeH="0" baseline="0" noProof="0" dirty="0">
                <a:ln>
                  <a:noFill/>
                </a:ln>
                <a:solidFill>
                  <a:srgbClr val="E2E7EB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ngineer Supervisor, Dallas District Project Delivery Office</a:t>
            </a:r>
            <a:endParaRPr kumimoji="0" lang="en-US" sz="1000" i="1" u="none" strike="noStrike" kern="0" cap="none" spc="0" normalizeH="0" baseline="0" noProof="0" dirty="0">
              <a:ln>
                <a:noFill/>
              </a:ln>
              <a:solidFill>
                <a:srgbClr val="E2E7EB">
                  <a:lumMod val="1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1" indent="-171450" defTabSz="4445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E2E7EB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iang Ding, P.E.</a:t>
            </a:r>
          </a:p>
          <a:p>
            <a:pPr marL="171450" marR="0" lvl="1" defTabSz="4445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defRPr/>
            </a:pPr>
            <a:r>
              <a:rPr kumimoji="0" lang="en-US" sz="1000" b="0" i="1" u="none" strike="noStrike" kern="0" cap="none" spc="0" normalizeH="0" baseline="0" noProof="0" dirty="0">
                <a:ln>
                  <a:noFill/>
                </a:ln>
                <a:solidFill>
                  <a:srgbClr val="E2E7EB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ransportation Engineer, Dallas District Project Delivery Office</a:t>
            </a:r>
          </a:p>
          <a:p>
            <a:pPr marL="171450" marR="0" lvl="1" indent="-171450" defTabSz="4445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E2E7EB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reonna DeShazer, P.E.   </a:t>
            </a:r>
            <a:r>
              <a:rPr kumimoji="0" lang="en-US" sz="1000" b="0" i="1" u="none" strike="noStrike" kern="0" cap="none" spc="0" normalizeH="0" baseline="0" noProof="0" dirty="0">
                <a:ln>
                  <a:noFill/>
                </a:ln>
                <a:solidFill>
                  <a:srgbClr val="E2E7EB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ransportation Engineer, Dallas District Project Delivery Office </a:t>
            </a:r>
          </a:p>
        </p:txBody>
      </p:sp>
      <p:grpSp>
        <p:nvGrpSpPr>
          <p:cNvPr id="2" name="Group 1" descr="Rectangle">
            <a:extLst>
              <a:ext uri="{FF2B5EF4-FFF2-40B4-BE49-F238E27FC236}">
                <a16:creationId xmlns:a16="http://schemas.microsoft.com/office/drawing/2014/main" id="{772432AD-6C11-46AF-4023-DBE247EFEE4B}"/>
              </a:ext>
            </a:extLst>
          </p:cNvPr>
          <p:cNvGrpSpPr/>
          <p:nvPr/>
        </p:nvGrpSpPr>
        <p:grpSpPr>
          <a:xfrm>
            <a:off x="4759576" y="1370971"/>
            <a:ext cx="4169048" cy="2280542"/>
            <a:chOff x="4759576" y="1370971"/>
            <a:chExt cx="4169048" cy="2280542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0C2CC557-E4BD-BDDA-8863-3CABA7E3FD06}"/>
                </a:ext>
              </a:extLst>
            </p:cNvPr>
            <p:cNvSpPr/>
            <p:nvPr/>
          </p:nvSpPr>
          <p:spPr>
            <a:xfrm>
              <a:off x="6085982" y="1382422"/>
              <a:ext cx="2842642" cy="2254372"/>
            </a:xfrm>
            <a:custGeom>
              <a:avLst/>
              <a:gdLst>
                <a:gd name="connsiteX0" fmla="*/ 380098 w 2280542"/>
                <a:gd name="connsiteY0" fmla="*/ 0 h 2740946"/>
                <a:gd name="connsiteX1" fmla="*/ 1900444 w 2280542"/>
                <a:gd name="connsiteY1" fmla="*/ 0 h 2740946"/>
                <a:gd name="connsiteX2" fmla="*/ 2280542 w 2280542"/>
                <a:gd name="connsiteY2" fmla="*/ 380098 h 2740946"/>
                <a:gd name="connsiteX3" fmla="*/ 2280542 w 2280542"/>
                <a:gd name="connsiteY3" fmla="*/ 2740946 h 2740946"/>
                <a:gd name="connsiteX4" fmla="*/ 2280542 w 2280542"/>
                <a:gd name="connsiteY4" fmla="*/ 2740946 h 2740946"/>
                <a:gd name="connsiteX5" fmla="*/ 0 w 2280542"/>
                <a:gd name="connsiteY5" fmla="*/ 2740946 h 2740946"/>
                <a:gd name="connsiteX6" fmla="*/ 0 w 2280542"/>
                <a:gd name="connsiteY6" fmla="*/ 2740946 h 2740946"/>
                <a:gd name="connsiteX7" fmla="*/ 0 w 2280542"/>
                <a:gd name="connsiteY7" fmla="*/ 380098 h 2740946"/>
                <a:gd name="connsiteX8" fmla="*/ 380098 w 2280542"/>
                <a:gd name="connsiteY8" fmla="*/ 0 h 2740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80542" h="2740946">
                  <a:moveTo>
                    <a:pt x="2280542" y="456834"/>
                  </a:moveTo>
                  <a:lnTo>
                    <a:pt x="2280542" y="2284112"/>
                  </a:lnTo>
                  <a:cubicBezTo>
                    <a:pt x="2280542" y="2536414"/>
                    <a:pt x="2138951" y="2740946"/>
                    <a:pt x="1964290" y="2740946"/>
                  </a:cubicBezTo>
                  <a:lnTo>
                    <a:pt x="0" y="2740946"/>
                  </a:lnTo>
                  <a:lnTo>
                    <a:pt x="0" y="2740946"/>
                  </a:lnTo>
                  <a:lnTo>
                    <a:pt x="0" y="0"/>
                  </a:lnTo>
                  <a:lnTo>
                    <a:pt x="0" y="0"/>
                  </a:lnTo>
                  <a:lnTo>
                    <a:pt x="1964290" y="0"/>
                  </a:lnTo>
                  <a:cubicBezTo>
                    <a:pt x="2138951" y="0"/>
                    <a:pt x="2280542" y="204532"/>
                    <a:pt x="2280542" y="456834"/>
                  </a:cubicBezTo>
                  <a:close/>
                </a:path>
              </a:pathLst>
            </a:custGeom>
            <a:solidFill>
              <a:srgbClr val="79A03F">
                <a:tint val="40000"/>
                <a:alpha val="90000"/>
                <a:hueOff val="0"/>
                <a:satOff val="0"/>
                <a:lumOff val="0"/>
                <a:alphaOff val="0"/>
              </a:srgbClr>
            </a:solidFill>
            <a:ln w="9525" cap="flat" cmpd="sng" algn="ctr">
              <a:solidFill>
                <a:srgbClr val="79A03F">
                  <a:tint val="40000"/>
                  <a:alpha val="90000"/>
                  <a:hueOff val="0"/>
                  <a:satOff val="0"/>
                  <a:lumOff val="0"/>
                  <a:alphaOff val="0"/>
                </a:srgbClr>
              </a:solidFill>
              <a:prstDash val="solid"/>
            </a:ln>
            <a:effectLst/>
          </p:spPr>
          <p:style>
            <a:lnRef idx="1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65760" tIns="111326" rIns="111326" bIns="111328" numCol="1" spcCol="1270" anchor="ctr" anchorCtr="0">
              <a:noAutofit/>
            </a:bodyPr>
            <a:lstStyle/>
            <a:p>
              <a:pPr marL="171450" lvl="1" indent="-171450" algn="l" defTabSz="444500" rtl="0" eaLnBrk="1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Arial" panose="020B0604020202020204" pitchFamily="34" charset="0"/>
                <a:buChar char="•"/>
                <a:defRPr/>
              </a:pPr>
              <a:r>
                <a:rPr kumimoji="0" lang="en-US" sz="1000" b="1" i="0" u="none" strike="noStrike" kern="0" cap="none" spc="0" normalizeH="0" baseline="0" dirty="0">
                  <a:ln>
                    <a:noFill/>
                  </a:ln>
                  <a:solidFill>
                    <a:srgbClr val="E2E7EB">
                      <a:lumMod val="1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Joseph S. Jancuska, P.E., CFM</a:t>
              </a:r>
            </a:p>
            <a:p>
              <a:pPr marL="171450" lvl="1" indent="0" algn="l" defTabSz="444500" rtl="0" eaLnBrk="1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None/>
                <a:defRPr/>
              </a:pPr>
              <a:r>
                <a:rPr kumimoji="0" lang="en-US" sz="1000" b="0" i="0" u="none" strike="noStrike" kern="0" cap="none" spc="0" normalizeH="0" baseline="0" dirty="0">
                  <a:ln>
                    <a:noFill/>
                  </a:ln>
                  <a:solidFill>
                    <a:srgbClr val="E2E7EB">
                      <a:lumMod val="1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Service Center Manager</a:t>
              </a:r>
            </a:p>
            <a:p>
              <a:pPr marL="171450" lvl="1" indent="-171450" algn="l" defTabSz="444500" rtl="0" eaLnBrk="1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Arial" panose="020B0604020202020204" pitchFamily="34" charset="0"/>
                <a:buChar char="•"/>
                <a:defRPr/>
              </a:pPr>
              <a:r>
                <a:rPr kumimoji="0" lang="en-US" sz="1000" b="1" i="0" u="none" strike="noStrike" kern="0" cap="none" spc="0" normalizeH="0" baseline="0" dirty="0">
                  <a:ln>
                    <a:noFill/>
                  </a:ln>
                  <a:solidFill>
                    <a:srgbClr val="E2E7EB">
                      <a:lumMod val="1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hristopher Franco, P.E.</a:t>
              </a:r>
            </a:p>
            <a:p>
              <a:pPr marL="171450" lvl="1" indent="0" algn="l" defTabSz="444500" rtl="0" eaLnBrk="1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None/>
                <a:defRPr/>
              </a:pPr>
              <a:r>
                <a:rPr kumimoji="0" lang="en-US" sz="1000" b="0" i="0" u="none" strike="noStrike" kern="0" cap="none" spc="0" normalizeH="0" baseline="0" dirty="0">
                  <a:ln>
                    <a:noFill/>
                  </a:ln>
                  <a:solidFill>
                    <a:srgbClr val="E2E7EB">
                      <a:lumMod val="1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ad PEPS Engineer</a:t>
              </a:r>
            </a:p>
            <a:p>
              <a:pPr marL="171450" lvl="1" indent="-171450" algn="l" defTabSz="444500" rtl="0" eaLnBrk="1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Arial" panose="020B0604020202020204" pitchFamily="34" charset="0"/>
                <a:buChar char="•"/>
                <a:defRPr/>
              </a:pPr>
              <a:r>
                <a:rPr kumimoji="0" lang="en-US" sz="1000" b="1" i="0" u="none" strike="noStrike" kern="0" cap="none" spc="0" normalizeH="0" baseline="0" dirty="0">
                  <a:ln>
                    <a:noFill/>
                  </a:ln>
                  <a:solidFill>
                    <a:srgbClr val="E2E7EB">
                      <a:lumMod val="1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arlitha Womack</a:t>
              </a:r>
            </a:p>
            <a:p>
              <a:pPr marL="171450" lvl="1" indent="0" algn="l" defTabSz="444500" rtl="0" eaLnBrk="1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None/>
                <a:defRPr/>
              </a:pPr>
              <a:r>
                <a:rPr kumimoji="0" lang="en-US" sz="1000" b="0" i="0" u="none" strike="noStrike" kern="0" cap="none" spc="0" normalizeH="0" baseline="0" dirty="0">
                  <a:ln>
                    <a:noFill/>
                  </a:ln>
                  <a:solidFill>
                    <a:srgbClr val="E2E7EB">
                      <a:lumMod val="1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ract Specialist</a:t>
              </a:r>
            </a:p>
            <a:p>
              <a:pPr marL="171450" lvl="1" indent="-171450" algn="l" defTabSz="444500" rtl="0" eaLnBrk="1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Arial" panose="020B0604020202020204" pitchFamily="34" charset="0"/>
                <a:buChar char="•"/>
                <a:defRPr/>
              </a:pPr>
              <a:r>
                <a:rPr kumimoji="0" lang="en-US" sz="1000" b="1" i="0" u="none" strike="noStrike" kern="0" cap="none" spc="0" normalizeH="0" baseline="0" dirty="0">
                  <a:ln>
                    <a:noFill/>
                  </a:ln>
                  <a:solidFill>
                    <a:srgbClr val="E2E7EB">
                      <a:lumMod val="1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arol Lee</a:t>
              </a:r>
            </a:p>
            <a:p>
              <a:pPr marL="171450" lvl="1" indent="0" algn="l" defTabSz="444500" rtl="0" eaLnBrk="1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None/>
                <a:defRPr/>
              </a:pPr>
              <a:r>
                <a:rPr kumimoji="0" lang="en-US" sz="1000" b="0" i="0" u="none" strike="noStrike" kern="0" cap="none" spc="0" normalizeH="0" baseline="0" dirty="0">
                  <a:ln>
                    <a:noFill/>
                  </a:ln>
                  <a:solidFill>
                    <a:srgbClr val="E2E7EB">
                      <a:lumMod val="1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ract Specialist</a:t>
              </a:r>
            </a:p>
            <a:p>
              <a:pPr marL="171450" lvl="1" indent="-171450" algn="l" defTabSz="444500" rtl="0" eaLnBrk="1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Arial" panose="020B0604020202020204" pitchFamily="34" charset="0"/>
                <a:buChar char="•"/>
                <a:defRPr/>
              </a:pPr>
              <a:r>
                <a:rPr kumimoji="0" lang="en-US" sz="1000" b="1" i="0" u="none" strike="noStrike" kern="0" cap="none" spc="0" normalizeH="0" baseline="0" dirty="0">
                  <a:ln>
                    <a:noFill/>
                  </a:ln>
                  <a:solidFill>
                    <a:srgbClr val="E2E7EB">
                      <a:lumMod val="1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manda Griffey</a:t>
              </a:r>
            </a:p>
            <a:p>
              <a:pPr marL="171450" lvl="1" indent="0" algn="l" defTabSz="444500" rtl="0" eaLnBrk="1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None/>
                <a:defRPr/>
              </a:pPr>
              <a:r>
                <a:rPr kumimoji="0" lang="en-US" sz="1000" b="0" i="0" u="none" strike="noStrike" kern="0" cap="none" spc="0" normalizeH="0" baseline="0" dirty="0">
                  <a:ln>
                    <a:noFill/>
                  </a:ln>
                  <a:solidFill>
                    <a:srgbClr val="E2E7EB">
                      <a:lumMod val="1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ract Specialist</a:t>
              </a:r>
            </a:p>
            <a:p>
              <a:pPr marL="171450" lvl="1" indent="-171450" algn="l" defTabSz="444500" rtl="0" eaLnBrk="1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Arial" panose="020B0604020202020204" pitchFamily="34" charset="0"/>
                <a:buChar char="•"/>
                <a:defRPr/>
              </a:pPr>
              <a:r>
                <a:rPr kumimoji="0" lang="en-US" sz="1000" b="1" i="0" u="none" strike="noStrike" kern="0" cap="none" spc="0" normalizeH="0" baseline="0" dirty="0">
                  <a:ln>
                    <a:noFill/>
                  </a:ln>
                  <a:solidFill>
                    <a:srgbClr val="E2E7EB">
                      <a:lumMod val="1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heryl Rodriguez</a:t>
              </a:r>
            </a:p>
            <a:p>
              <a:pPr marL="171450" lvl="1" indent="0" algn="l" defTabSz="444500" rtl="0" eaLnBrk="1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None/>
                <a:defRPr/>
              </a:pPr>
              <a:r>
                <a:rPr kumimoji="0" lang="en-US" sz="1000" b="0" i="0" u="none" strike="noStrike" kern="0" cap="none" spc="0" normalizeH="0" baseline="0" dirty="0">
                  <a:ln>
                    <a:noFill/>
                  </a:ln>
                  <a:solidFill>
                    <a:srgbClr val="E2E7EB">
                      <a:lumMod val="1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ract Specialist</a:t>
              </a:r>
            </a:p>
            <a:p>
              <a:pPr marL="57150" lvl="1" indent="0" algn="l" defTabSz="3111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endParaRPr lang="en-US" sz="700" b="0" kern="120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CB60AD6F-BF2B-F9E8-F54E-04626CE0FAB9}"/>
                </a:ext>
              </a:extLst>
            </p:cNvPr>
            <p:cNvSpPr/>
            <p:nvPr/>
          </p:nvSpPr>
          <p:spPr>
            <a:xfrm>
              <a:off x="4759576" y="1370971"/>
              <a:ext cx="1541782" cy="2280542"/>
            </a:xfrm>
            <a:custGeom>
              <a:avLst/>
              <a:gdLst>
                <a:gd name="connsiteX0" fmla="*/ 0 w 1541782"/>
                <a:gd name="connsiteY0" fmla="*/ 256969 h 2280542"/>
                <a:gd name="connsiteX1" fmla="*/ 256969 w 1541782"/>
                <a:gd name="connsiteY1" fmla="*/ 0 h 2280542"/>
                <a:gd name="connsiteX2" fmla="*/ 1284813 w 1541782"/>
                <a:gd name="connsiteY2" fmla="*/ 0 h 2280542"/>
                <a:gd name="connsiteX3" fmla="*/ 1541782 w 1541782"/>
                <a:gd name="connsiteY3" fmla="*/ 256969 h 2280542"/>
                <a:gd name="connsiteX4" fmla="*/ 1541782 w 1541782"/>
                <a:gd name="connsiteY4" fmla="*/ 2023573 h 2280542"/>
                <a:gd name="connsiteX5" fmla="*/ 1284813 w 1541782"/>
                <a:gd name="connsiteY5" fmla="*/ 2280542 h 2280542"/>
                <a:gd name="connsiteX6" fmla="*/ 256969 w 1541782"/>
                <a:gd name="connsiteY6" fmla="*/ 2280542 h 2280542"/>
                <a:gd name="connsiteX7" fmla="*/ 0 w 1541782"/>
                <a:gd name="connsiteY7" fmla="*/ 2023573 h 2280542"/>
                <a:gd name="connsiteX8" fmla="*/ 0 w 1541782"/>
                <a:gd name="connsiteY8" fmla="*/ 256969 h 2280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41782" h="2280542">
                  <a:moveTo>
                    <a:pt x="0" y="256969"/>
                  </a:moveTo>
                  <a:cubicBezTo>
                    <a:pt x="0" y="115049"/>
                    <a:pt x="115049" y="0"/>
                    <a:pt x="256969" y="0"/>
                  </a:cubicBezTo>
                  <a:lnTo>
                    <a:pt x="1284813" y="0"/>
                  </a:lnTo>
                  <a:cubicBezTo>
                    <a:pt x="1426733" y="0"/>
                    <a:pt x="1541782" y="115049"/>
                    <a:pt x="1541782" y="256969"/>
                  </a:cubicBezTo>
                  <a:lnTo>
                    <a:pt x="1541782" y="2023573"/>
                  </a:lnTo>
                  <a:cubicBezTo>
                    <a:pt x="1541782" y="2165493"/>
                    <a:pt x="1426733" y="2280542"/>
                    <a:pt x="1284813" y="2280542"/>
                  </a:cubicBezTo>
                  <a:lnTo>
                    <a:pt x="256969" y="2280542"/>
                  </a:lnTo>
                  <a:cubicBezTo>
                    <a:pt x="115049" y="2280542"/>
                    <a:pt x="0" y="2165493"/>
                    <a:pt x="0" y="2023573"/>
                  </a:cubicBezTo>
                  <a:lnTo>
                    <a:pt x="0" y="256969"/>
                  </a:lnTo>
                  <a:close/>
                </a:path>
              </a:pathLst>
            </a:custGeom>
            <a:gradFill rotWithShape="0">
              <a:gsLst>
                <a:gs pos="0">
                  <a:srgbClr val="79A03F">
                    <a:hueOff val="0"/>
                    <a:satOff val="0"/>
                    <a:lumOff val="0"/>
                    <a:alphaOff val="0"/>
                    <a:shade val="51000"/>
                    <a:satMod val="130000"/>
                  </a:srgbClr>
                </a:gs>
                <a:gs pos="80000">
                  <a:srgbClr val="79A03F">
                    <a:hueOff val="0"/>
                    <a:satOff val="0"/>
                    <a:lumOff val="0"/>
                    <a:alphaOff val="0"/>
                    <a:shade val="93000"/>
                    <a:satMod val="130000"/>
                  </a:srgbClr>
                </a:gs>
                <a:gs pos="100000">
                  <a:srgbClr val="79A03F">
                    <a:hueOff val="0"/>
                    <a:satOff val="0"/>
                    <a:lumOff val="0"/>
                    <a:alphaOff val="0"/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style>
            <a:lnRef idx="0">
              <a:scrgbClr r="0" g="0" b="0"/>
            </a:lnRef>
            <a:fillRef idx="3">
              <a:scrgbClr r="0" g="0" b="0"/>
            </a:fillRef>
            <a:effectRef idx="2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32414" tIns="103839" rIns="132414" bIns="103839" numCol="1" spcCol="1270" anchor="ctr" anchorCtr="0">
              <a:noAutofit/>
            </a:bodyPr>
            <a:lstStyle/>
            <a:p>
              <a:pPr marL="0" lvl="0" indent="0" algn="ctr" defTabSz="66675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None/>
              </a:pPr>
              <a:r>
                <a:rPr lang="en-US" sz="1500" b="1" kern="1200" dirty="0">
                  <a:solidFill>
                    <a:srgbClr val="FFFFFF"/>
                  </a:solidFill>
                  <a:latin typeface="Arial"/>
                  <a:ea typeface="+mn-ea"/>
                  <a:cs typeface="+mn-cs"/>
                </a:rPr>
                <a:t>TxDOT PEPS Division </a:t>
              </a:r>
            </a:p>
            <a:p>
              <a:pPr marL="0" lvl="0" indent="0" algn="ctr" defTabSz="66675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None/>
              </a:pPr>
              <a:endParaRPr lang="en-US" sz="1500" b="1" kern="1200" dirty="0">
                <a:solidFill>
                  <a:srgbClr val="FFFFFF"/>
                </a:solidFill>
                <a:latin typeface="Arial"/>
                <a:ea typeface="+mn-ea"/>
                <a:cs typeface="+mn-cs"/>
              </a:endParaRPr>
            </a:p>
            <a:p>
              <a:pPr marL="0" lvl="0" indent="0" algn="ctr" defTabSz="66675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None/>
              </a:pPr>
              <a:r>
                <a:rPr lang="en-US" sz="1500" b="0" kern="1200" dirty="0">
                  <a:solidFill>
                    <a:srgbClr val="FFFFFF"/>
                  </a:solidFill>
                  <a:latin typeface="Arial"/>
                  <a:ea typeface="+mn-ea"/>
                  <a:cs typeface="+mn-cs"/>
                </a:rPr>
                <a:t>Dallas Service Center</a:t>
              </a:r>
            </a:p>
            <a:p>
              <a:pPr marL="0" lvl="0" indent="0" algn="ctr" defTabSz="66675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None/>
              </a:pPr>
              <a:r>
                <a:rPr lang="en-US" sz="1500" b="0" kern="1200" dirty="0">
                  <a:solidFill>
                    <a:srgbClr val="FFFFFF"/>
                  </a:solidFill>
                  <a:latin typeface="Arial"/>
                  <a:ea typeface="+mn-ea"/>
                  <a:cs typeface="+mn-cs"/>
                </a:rPr>
                <a:t>Personnel</a:t>
              </a:r>
              <a:r>
                <a:rPr lang="en-US" sz="1800" b="0" kern="1200" dirty="0">
                  <a:solidFill>
                    <a:srgbClr val="FFFFFF"/>
                  </a:solidFill>
                  <a:latin typeface="Arial"/>
                  <a:ea typeface="+mn-ea"/>
                  <a:cs typeface="+mn-cs"/>
                </a:rPr>
                <a:t> </a:t>
              </a:r>
              <a:endParaRPr lang="en-US" sz="1800" kern="1200" dirty="0">
                <a:solidFill>
                  <a:srgbClr val="FFFFFF"/>
                </a:solidFill>
                <a:latin typeface="Arial"/>
                <a:ea typeface="+mn-ea"/>
                <a:cs typeface="+mn-cs"/>
              </a:endParaRPr>
            </a:p>
          </p:txBody>
        </p:sp>
      </p:grp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D423A9F7-7D2E-663A-2BEC-D1C41294E7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6537589"/>
              </p:ext>
            </p:extLst>
          </p:nvPr>
        </p:nvGraphicFramePr>
        <p:xfrm>
          <a:off x="1582833" y="4838700"/>
          <a:ext cx="5447212" cy="304800"/>
        </p:xfrm>
        <a:graphic>
          <a:graphicData uri="http://schemas.openxmlformats.org/drawingml/2006/table">
            <a:tbl>
              <a:tblPr firstRow="1" bandRow="1"/>
              <a:tblGrid>
                <a:gridCol w="5447212">
                  <a:extLst>
                    <a:ext uri="{9D8B030D-6E8A-4147-A177-3AD203B41FA5}">
                      <a16:colId xmlns:a16="http://schemas.microsoft.com/office/drawing/2014/main" val="3265189285"/>
                    </a:ext>
                  </a:extLst>
                </a:gridCol>
              </a:tblGrid>
              <a:tr h="142417">
                <a:tc>
                  <a:txBody>
                    <a:bodyPr/>
                    <a:lstStyle>
                      <a:lvl1pPr marL="0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342591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685183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027774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370366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712957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055548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2398140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2740731" algn="l" defTabSz="685183" rtl="0" eaLnBrk="1" latinLnBrk="0" hangingPunct="1">
                        <a:defRPr sz="134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u="sng" dirty="0">
                          <a:solidFill>
                            <a:schemeClr val="accent3"/>
                          </a:solidFill>
                        </a:rPr>
                        <a:t>Do not contact TxDOT CST Members </a:t>
                      </a:r>
                      <a:r>
                        <a:rPr lang="en-US" sz="1400" b="1" u="sng" kern="1200" dirty="0">
                          <a:solidFill>
                            <a:schemeClr val="accent3"/>
                          </a:solidFill>
                          <a:latin typeface="Arial"/>
                          <a:ea typeface="+mn-ea"/>
                          <a:cs typeface="+mn-cs"/>
                        </a:rPr>
                        <a:t>during this procurement.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122865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888925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958A8F5E-4B5C-9989-0819-0D30BAFA501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157375" y="580969"/>
            <a:ext cx="8353424" cy="40011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 defTabSz="68518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198" b="1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pPr marL="0" marR="0" lvl="0" indent="0" algn="l" defTabSz="6851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Solicitation Process- US 75 Feasibility Study</a:t>
            </a:r>
          </a:p>
        </p:txBody>
      </p:sp>
      <p:graphicFrame>
        <p:nvGraphicFramePr>
          <p:cNvPr id="14" name="Diagram 13" descr="Inerviews timeline">
            <a:extLst>
              <a:ext uri="{FF2B5EF4-FFF2-40B4-BE49-F238E27FC236}">
                <a16:creationId xmlns:a16="http://schemas.microsoft.com/office/drawing/2014/main" id="{D3847198-E405-AAAF-727E-BFF81E559E3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87746586"/>
              </p:ext>
            </p:extLst>
          </p:nvPr>
        </p:nvGraphicFramePr>
        <p:xfrm>
          <a:off x="260209" y="1180760"/>
          <a:ext cx="8147756" cy="8589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5" name="Diagram 14" descr="Interview process">
            <a:extLst>
              <a:ext uri="{FF2B5EF4-FFF2-40B4-BE49-F238E27FC236}">
                <a16:creationId xmlns:a16="http://schemas.microsoft.com/office/drawing/2014/main" id="{4294585F-9BDB-DDDD-2A5D-536B3D08063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82333906"/>
              </p:ext>
            </p:extLst>
          </p:nvPr>
        </p:nvGraphicFramePr>
        <p:xfrm>
          <a:off x="1004784" y="2147912"/>
          <a:ext cx="6764942" cy="27561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4433047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131DC918-FB17-0AD8-87E6-0D4E2E4481AC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283014" y="656214"/>
            <a:ext cx="8353424" cy="40011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 defTabSz="68518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198" b="1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pPr marL="0" marR="0" lvl="0" indent="0" algn="l" defTabSz="6851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Solicitation Process – Specific Deliverable</a:t>
            </a:r>
          </a:p>
        </p:txBody>
      </p:sp>
      <p:graphicFrame>
        <p:nvGraphicFramePr>
          <p:cNvPr id="9" name="Diagram 8" descr="Solicitation process description">
            <a:extLst>
              <a:ext uri="{FF2B5EF4-FFF2-40B4-BE49-F238E27FC236}">
                <a16:creationId xmlns:a16="http://schemas.microsoft.com/office/drawing/2014/main" id="{51CBDFBA-4709-AE5B-E126-91D6030E86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62472137"/>
              </p:ext>
            </p:extLst>
          </p:nvPr>
        </p:nvGraphicFramePr>
        <p:xfrm>
          <a:off x="1329118" y="1291456"/>
          <a:ext cx="6485764" cy="34309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2458131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E77CC201-8077-2DA0-C687-2CDE834422C9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246479" y="754052"/>
            <a:ext cx="7708801" cy="361188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 defTabSz="68518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198" b="1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pPr marL="0" marR="0" lvl="0" indent="0" algn="l" defTabSz="6851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Solicitation Process – Evaluation Criteria</a:t>
            </a:r>
          </a:p>
        </p:txBody>
      </p:sp>
      <p:pic>
        <p:nvPicPr>
          <p:cNvPr id="9" name="Picture 8" descr="Evaluation criteria steps">
            <a:extLst>
              <a:ext uri="{FF2B5EF4-FFF2-40B4-BE49-F238E27FC236}">
                <a16:creationId xmlns:a16="http://schemas.microsoft.com/office/drawing/2014/main" id="{3F651688-FDF4-4167-15B3-62B03D66E7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97508" y="1434591"/>
            <a:ext cx="3548984" cy="33659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795717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0CB9D6FB-B382-3EF5-CFF2-255AAB6608D8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221020" y="579189"/>
            <a:ext cx="8353424" cy="402336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 defTabSz="68518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198" b="1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pPr marL="0" marR="0" lvl="0" indent="0" algn="l" defTabSz="6851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Interview Proces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highlight>
                <a:srgbClr val="FFFF00"/>
              </a:highlight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j-cs"/>
            </a:endParaRPr>
          </a:p>
        </p:txBody>
      </p:sp>
      <p:graphicFrame>
        <p:nvGraphicFramePr>
          <p:cNvPr id="8" name="Diagram 7" descr="Interview process diagram">
            <a:extLst>
              <a:ext uri="{FF2B5EF4-FFF2-40B4-BE49-F238E27FC236}">
                <a16:creationId xmlns:a16="http://schemas.microsoft.com/office/drawing/2014/main" id="{2B12768A-359A-4B4F-3318-6F4DC4F5B43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58164688"/>
              </p:ext>
            </p:extLst>
          </p:nvPr>
        </p:nvGraphicFramePr>
        <p:xfrm>
          <a:off x="570310" y="1180759"/>
          <a:ext cx="3949440" cy="37541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4" name="Diagram 13" descr="Interview instructions">
            <a:extLst>
              <a:ext uri="{FF2B5EF4-FFF2-40B4-BE49-F238E27FC236}">
                <a16:creationId xmlns:a16="http://schemas.microsoft.com/office/drawing/2014/main" id="{F29A4359-B808-BD29-D59A-42A3AF76D6A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5856605"/>
              </p:ext>
            </p:extLst>
          </p:nvPr>
        </p:nvGraphicFramePr>
        <p:xfrm>
          <a:off x="4056481" y="816510"/>
          <a:ext cx="4068618" cy="36250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15" name="Diagram 14" descr="Scoring explanation">
            <a:extLst>
              <a:ext uri="{FF2B5EF4-FFF2-40B4-BE49-F238E27FC236}">
                <a16:creationId xmlns:a16="http://schemas.microsoft.com/office/drawing/2014/main" id="{0A1118B6-2D25-8A8E-9458-FA74C0EC14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2736973"/>
              </p:ext>
            </p:extLst>
          </p:nvPr>
        </p:nvGraphicFramePr>
        <p:xfrm>
          <a:off x="7568295" y="2914310"/>
          <a:ext cx="1302655" cy="129341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</p:spTree>
    <p:extLst>
      <p:ext uri="{BB962C8B-B14F-4D97-AF65-F5344CB8AC3E}">
        <p14:creationId xmlns:p14="http://schemas.microsoft.com/office/powerpoint/2010/main" val="18383072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F0EB6C-6D8F-A9B7-A294-17362D6AB7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234" y="2799857"/>
            <a:ext cx="8229600" cy="294612"/>
          </a:xfrm>
        </p:spPr>
        <p:txBody>
          <a:bodyPr>
            <a:noAutofit/>
          </a:bodyPr>
          <a:lstStyle/>
          <a:p>
            <a:r>
              <a:rPr lang="en-US" sz="2400" dirty="0"/>
              <a:t>There will not be any preclusions or core team restrictions on this solicitation</a:t>
            </a:r>
          </a:p>
        </p:txBody>
      </p:sp>
    </p:spTree>
    <p:extLst>
      <p:ext uri="{BB962C8B-B14F-4D97-AF65-F5344CB8AC3E}">
        <p14:creationId xmlns:p14="http://schemas.microsoft.com/office/powerpoint/2010/main" val="23755499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8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KCWpp8r0.r59ZpQo18_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1_nFA840OlZ.4Wz9Rl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UdFQdb3k6Pf0.tJe3aj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theme/theme1.xml><?xml version="1.0" encoding="utf-8"?>
<a:theme xmlns:a="http://schemas.openxmlformats.org/drawingml/2006/main" name="MASTER_powerpoint_template3_WIDESCREEN_SLANT">
  <a:themeElements>
    <a:clrScheme name="Prefinal 5">
      <a:dk1>
        <a:srgbClr val="000000"/>
      </a:dk1>
      <a:lt1>
        <a:srgbClr val="FFFFFF"/>
      </a:lt1>
      <a:dk2>
        <a:srgbClr val="E2E7EB"/>
      </a:dk2>
      <a:lt2>
        <a:srgbClr val="F9EFE0"/>
      </a:lt2>
      <a:accent1>
        <a:srgbClr val="3869A2"/>
      </a:accent1>
      <a:accent2>
        <a:srgbClr val="0F3859"/>
      </a:accent2>
      <a:accent3>
        <a:srgbClr val="CC7B28"/>
      </a:accent3>
      <a:accent4>
        <a:srgbClr val="F4BC46"/>
      </a:accent4>
      <a:accent5>
        <a:srgbClr val="79A03F"/>
      </a:accent5>
      <a:accent6>
        <a:srgbClr val="247F74"/>
      </a:accent6>
      <a:hlink>
        <a:srgbClr val="042A45"/>
      </a:hlink>
      <a:folHlink>
        <a:srgbClr val="4D4D4D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>
          <a:blip xmlns:r="http://schemas.openxmlformats.org/officeDocument/2006/relationships" r:embed="rId1"/>
          <a:stretch>
            <a:fillRect l="-4127" t="-2765" r="-4127" b="-2765"/>
          </a:stretch>
        </a:blipFill>
        <a:ln>
          <a:noFill/>
        </a:ln>
      </a:spPr>
      <a:bodyPr rtlCol="0" anchor="ctr"/>
      <a:lstStyle>
        <a:defPPr algn="ctr">
          <a:defRPr sz="1200" dirty="0" err="1" smtClean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rand_template_12-15-20_WIDE.potx" id="{E2446AE5-1E95-4BBB-B94B-8A65A212BE44}" vid="{1E2EF051-2CCA-4B62-896E-8A359244E52D}"/>
    </a:ext>
  </a:extLst>
</a:theme>
</file>

<file path=ppt/theme/theme2.xml><?xml version="1.0" encoding="utf-8"?>
<a:theme xmlns:a="http://schemas.openxmlformats.org/drawingml/2006/main" name="Office Theme">
  <a:themeElements>
    <a:clrScheme name="TxDOT Template Color Scheme">
      <a:dk1>
        <a:srgbClr val="000000"/>
      </a:dk1>
      <a:lt1>
        <a:srgbClr val="FFFFFF"/>
      </a:lt1>
      <a:dk2>
        <a:srgbClr val="000000"/>
      </a:dk2>
      <a:lt2>
        <a:srgbClr val="EBEBEB"/>
      </a:lt2>
      <a:accent1>
        <a:srgbClr val="0056A9"/>
      </a:accent1>
      <a:accent2>
        <a:srgbClr val="D90D0D"/>
      </a:accent2>
      <a:accent3>
        <a:srgbClr val="196533"/>
      </a:accent3>
      <a:accent4>
        <a:srgbClr val="5F0F40"/>
      </a:accent4>
      <a:accent5>
        <a:srgbClr val="002E69"/>
      </a:accent5>
      <a:accent6>
        <a:srgbClr val="333F48"/>
      </a:accent6>
      <a:hlink>
        <a:srgbClr val="0056A9"/>
      </a:hlink>
      <a:folHlink>
        <a:srgbClr val="5F0F40"/>
      </a:folHlink>
    </a:clrScheme>
    <a:fontScheme name="TxDOT Template fonts">
      <a:majorFont>
        <a:latin typeface="Verdana Bold"/>
        <a:ea typeface=""/>
        <a:cs typeface=""/>
      </a:majorFont>
      <a:minorFont>
        <a:latin typeface="Verdana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xdot-presentation-template.pptx" id="{938848B8-646C-43B4-87FB-E5CE4F5AA713}" vid="{81AFAFDC-571E-4497-A772-99D776B4730F}"/>
    </a:ext>
  </a:extLst>
</a:theme>
</file>

<file path=ppt/theme/theme3.xml><?xml version="1.0" encoding="utf-8"?>
<a:theme xmlns:a="http://schemas.openxmlformats.org/drawingml/2006/main" name="1_Office Theme">
  <a:themeElements>
    <a:clrScheme name="TxDOT Template Color Scheme">
      <a:dk1>
        <a:srgbClr val="000000"/>
      </a:dk1>
      <a:lt1>
        <a:srgbClr val="FFFFFF"/>
      </a:lt1>
      <a:dk2>
        <a:srgbClr val="000000"/>
      </a:dk2>
      <a:lt2>
        <a:srgbClr val="EBEBEB"/>
      </a:lt2>
      <a:accent1>
        <a:srgbClr val="0056A9"/>
      </a:accent1>
      <a:accent2>
        <a:srgbClr val="D90D0D"/>
      </a:accent2>
      <a:accent3>
        <a:srgbClr val="196533"/>
      </a:accent3>
      <a:accent4>
        <a:srgbClr val="5F0F40"/>
      </a:accent4>
      <a:accent5>
        <a:srgbClr val="002E69"/>
      </a:accent5>
      <a:accent6>
        <a:srgbClr val="333F48"/>
      </a:accent6>
      <a:hlink>
        <a:srgbClr val="0056A9"/>
      </a:hlink>
      <a:folHlink>
        <a:srgbClr val="5F0F40"/>
      </a:folHlink>
    </a:clrScheme>
    <a:fontScheme name="TxDOT Template fonts">
      <a:majorFont>
        <a:latin typeface="Verdana Bold"/>
        <a:ea typeface=""/>
        <a:cs typeface=""/>
      </a:majorFont>
      <a:minorFont>
        <a:latin typeface="Verdana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xdot-presentation-template2.pptx" id="{D2D5C860-A1B3-4A6C-8149-02A62B73144F}" vid="{EFF924DB-A2C4-48D0-BDFE-99CFC2D22208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6C81961B010494D8D6CDD91DD8CDD3C" ma:contentTypeVersion="1" ma:contentTypeDescription="Create a new document." ma:contentTypeScope="" ma:versionID="73132754b6e442390b331891c4e3fac3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48c5b5cd9b8d25ff6dd15848836f4270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9B070EC2-1E79-4469-B3E5-79E27703FC3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AE2525B-C230-4AD3-9DB8-3F51BA8AE29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AD00FEB-8268-4E65-8965-8555F98441C4}">
  <ds:schemaRefs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sharepoint/v3"/>
    <ds:schemaRef ds:uri="http://purl.org/dc/terms/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10</TotalTime>
  <Words>1171</Words>
  <Application>Microsoft Office PowerPoint</Application>
  <PresentationFormat>On-screen Show (16:9)</PresentationFormat>
  <Paragraphs>232</Paragraphs>
  <Slides>1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3" baseType="lpstr">
      <vt:lpstr>Aptos</vt:lpstr>
      <vt:lpstr>Arial</vt:lpstr>
      <vt:lpstr>Barlow Condensed Medium</vt:lpstr>
      <vt:lpstr>Calibri</vt:lpstr>
      <vt:lpstr>Franklin Gothic Book</vt:lpstr>
      <vt:lpstr>Franklin Gothic Demi</vt:lpstr>
      <vt:lpstr>Franklin Gothic Medium Cond</vt:lpstr>
      <vt:lpstr>Verdana</vt:lpstr>
      <vt:lpstr>Verdana Bold</vt:lpstr>
      <vt:lpstr>Wingdings</vt:lpstr>
      <vt:lpstr>MASTER_powerpoint_template3_WIDESCREEN_SLANT</vt:lpstr>
      <vt:lpstr>Office Theme</vt:lpstr>
      <vt:lpstr>1_Office Theme</vt:lpstr>
      <vt:lpstr>think-cell Slide</vt:lpstr>
      <vt:lpstr>Pre-RFP Meeting</vt:lpstr>
      <vt:lpstr>Housekeeping</vt:lpstr>
      <vt:lpstr>FY 26 Wave 4 Pre-RFP Meeting Agenda </vt:lpstr>
      <vt:lpstr>Procurement Team Introduction</vt:lpstr>
      <vt:lpstr>Solicitation Process- US 75 Feasibility Study</vt:lpstr>
      <vt:lpstr>Solicitation Process – Specific Deliverable</vt:lpstr>
      <vt:lpstr>Solicitation Process – Evaluation Criteria</vt:lpstr>
      <vt:lpstr>Interview Process</vt:lpstr>
      <vt:lpstr>There will not be any preclusions or core team restrictions on this solicitation</vt:lpstr>
      <vt:lpstr>RFP Reminders</vt:lpstr>
      <vt:lpstr>Potential Work Categories &amp; NLCs</vt:lpstr>
      <vt:lpstr>Project Location</vt:lpstr>
      <vt:lpstr>Purpose of Study</vt:lpstr>
      <vt:lpstr>Existing Constraints</vt:lpstr>
      <vt:lpstr>More Information</vt:lpstr>
      <vt:lpstr>Tentative Procurement Timeline</vt:lpstr>
      <vt:lpstr>Wrap-Up and Next Steps</vt:lpstr>
      <vt:lpstr>Questions</vt:lpstr>
      <vt:lpstr>Drive like a Texan English</vt:lpstr>
    </vt:vector>
  </TitlesOfParts>
  <Company>Texas Dept. of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-RFP Meeting – US 75 Feasibility Study SD Procurement – Dallas District</dc:title>
  <dc:subject>Pre-RFP Presentation</dc:subject>
  <dc:creator>TxDOT</dc:creator>
  <cp:keywords>pre-rfp; presentation; us 75</cp:keywords>
  <cp:lastModifiedBy>Idelice Haack</cp:lastModifiedBy>
  <cp:revision>132</cp:revision>
  <cp:lastPrinted>2019-12-20T16:02:39Z</cp:lastPrinted>
  <dcterms:created xsi:type="dcterms:W3CDTF">2021-05-13T13:41:59Z</dcterms:created>
  <dcterms:modified xsi:type="dcterms:W3CDTF">2026-07-10T18:53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6C81961B010494D8D6CDD91DD8CDD3C</vt:lpwstr>
  </property>
</Properties>
</file>